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8" r:id="rId2"/>
    <p:sldId id="278" r:id="rId3"/>
    <p:sldId id="279" r:id="rId4"/>
    <p:sldId id="280" r:id="rId5"/>
    <p:sldId id="281" r:id="rId6"/>
    <p:sldId id="282" r:id="rId7"/>
    <p:sldId id="285" r:id="rId8"/>
    <p:sldId id="286" r:id="rId9"/>
    <p:sldId id="283" r:id="rId10"/>
    <p:sldId id="284" r:id="rId11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4D9"/>
    <a:srgbClr val="C4B7B1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32A62B-E098-284D-BCAA-5F6ACF69CABE}" v="945" dt="2023-04-18T08:15:14.7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1555" autoAdjust="0"/>
    <p:restoredTop sz="96197" autoAdjust="0"/>
  </p:normalViewPr>
  <p:slideViewPr>
    <p:cSldViewPr snapToGrid="0" showGuides="1">
      <p:cViewPr>
        <p:scale>
          <a:sx n="93" d="100"/>
          <a:sy n="93" d="100"/>
        </p:scale>
        <p:origin x="144" y="76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Jonsson" userId="21641d7e-52d9-41d7-9f83-0187abc4d6e4" providerId="ADAL" clId="{1F32A62B-E098-284D-BCAA-5F6ACF69CABE}"/>
    <pc:docChg chg="undo custSel addSld modSld">
      <pc:chgData name="Thomas Jonsson" userId="21641d7e-52d9-41d7-9f83-0187abc4d6e4" providerId="ADAL" clId="{1F32A62B-E098-284D-BCAA-5F6ACF69CABE}" dt="2023-04-18T08:20:06.909" v="1530" actId="20577"/>
      <pc:docMkLst>
        <pc:docMk/>
      </pc:docMkLst>
      <pc:sldChg chg="modSp mod">
        <pc:chgData name="Thomas Jonsson" userId="21641d7e-52d9-41d7-9f83-0187abc4d6e4" providerId="ADAL" clId="{1F32A62B-E098-284D-BCAA-5F6ACF69CABE}" dt="2023-04-17T16:29:36.602" v="1" actId="20577"/>
        <pc:sldMkLst>
          <pc:docMk/>
          <pc:sldMk cId="3643575161" sldId="258"/>
        </pc:sldMkLst>
        <pc:spChg chg="mod">
          <ac:chgData name="Thomas Jonsson" userId="21641d7e-52d9-41d7-9f83-0187abc4d6e4" providerId="ADAL" clId="{1F32A62B-E098-284D-BCAA-5F6ACF69CABE}" dt="2023-04-17T16:29:36.602" v="1" actId="20577"/>
          <ac:spMkLst>
            <pc:docMk/>
            <pc:sldMk cId="3643575161" sldId="258"/>
            <ac:spMk id="5" creationId="{00000000-0000-0000-0000-000000000000}"/>
          </ac:spMkLst>
        </pc:spChg>
      </pc:sldChg>
      <pc:sldChg chg="modSp mod modAnim">
        <pc:chgData name="Thomas Jonsson" userId="21641d7e-52d9-41d7-9f83-0187abc4d6e4" providerId="ADAL" clId="{1F32A62B-E098-284D-BCAA-5F6ACF69CABE}" dt="2023-04-18T08:20:06.909" v="1530" actId="20577"/>
        <pc:sldMkLst>
          <pc:docMk/>
          <pc:sldMk cId="0" sldId="278"/>
        </pc:sldMkLst>
        <pc:spChg chg="mod">
          <ac:chgData name="Thomas Jonsson" userId="21641d7e-52d9-41d7-9f83-0187abc4d6e4" providerId="ADAL" clId="{1F32A62B-E098-284D-BCAA-5F6ACF69CABE}" dt="2023-04-18T08:13:16.115" v="1510" actId="20577"/>
          <ac:spMkLst>
            <pc:docMk/>
            <pc:sldMk cId="0" sldId="278"/>
            <ac:spMk id="3" creationId="{00000000-0000-0000-0000-000000000000}"/>
          </ac:spMkLst>
        </pc:spChg>
        <pc:spChg chg="mod">
          <ac:chgData name="Thomas Jonsson" userId="21641d7e-52d9-41d7-9f83-0187abc4d6e4" providerId="ADAL" clId="{1F32A62B-E098-284D-BCAA-5F6ACF69CABE}" dt="2023-04-18T08:12:46.399" v="1483" actId="1038"/>
          <ac:spMkLst>
            <pc:docMk/>
            <pc:sldMk cId="0" sldId="278"/>
            <ac:spMk id="10" creationId="{1E60F9BB-AEED-BB5C-F58A-0F66ADED23F8}"/>
          </ac:spMkLst>
        </pc:spChg>
        <pc:spChg chg="mod">
          <ac:chgData name="Thomas Jonsson" userId="21641d7e-52d9-41d7-9f83-0187abc4d6e4" providerId="ADAL" clId="{1F32A62B-E098-284D-BCAA-5F6ACF69CABE}" dt="2023-04-18T08:20:06.909" v="1530" actId="20577"/>
          <ac:spMkLst>
            <pc:docMk/>
            <pc:sldMk cId="0" sldId="278"/>
            <ac:spMk id="11" creationId="{E25B9F90-7E03-73EE-BA7A-5CE27401E60C}"/>
          </ac:spMkLst>
        </pc:spChg>
        <pc:spChg chg="mod">
          <ac:chgData name="Thomas Jonsson" userId="21641d7e-52d9-41d7-9f83-0187abc4d6e4" providerId="ADAL" clId="{1F32A62B-E098-284D-BCAA-5F6ACF69CABE}" dt="2023-04-18T08:12:39.509" v="1474" actId="1037"/>
          <ac:spMkLst>
            <pc:docMk/>
            <pc:sldMk cId="0" sldId="278"/>
            <ac:spMk id="12" creationId="{A67C04A6-CB40-119E-B02D-4E93E2CC0357}"/>
          </ac:spMkLst>
        </pc:spChg>
      </pc:sldChg>
      <pc:sldChg chg="modAnim">
        <pc:chgData name="Thomas Jonsson" userId="21641d7e-52d9-41d7-9f83-0187abc4d6e4" providerId="ADAL" clId="{1F32A62B-E098-284D-BCAA-5F6ACF69CABE}" dt="2023-04-18T08:13:38.934" v="1512"/>
        <pc:sldMkLst>
          <pc:docMk/>
          <pc:sldMk cId="2442819811" sldId="279"/>
        </pc:sldMkLst>
      </pc:sldChg>
      <pc:sldChg chg="modAnim">
        <pc:chgData name="Thomas Jonsson" userId="21641d7e-52d9-41d7-9f83-0187abc4d6e4" providerId="ADAL" clId="{1F32A62B-E098-284D-BCAA-5F6ACF69CABE}" dt="2023-04-18T08:14:02.126" v="1518"/>
        <pc:sldMkLst>
          <pc:docMk/>
          <pc:sldMk cId="4253190547" sldId="280"/>
        </pc:sldMkLst>
      </pc:sldChg>
      <pc:sldChg chg="modAnim">
        <pc:chgData name="Thomas Jonsson" userId="21641d7e-52d9-41d7-9f83-0187abc4d6e4" providerId="ADAL" clId="{1F32A62B-E098-284D-BCAA-5F6ACF69CABE}" dt="2023-04-18T08:14:13.085" v="1520"/>
        <pc:sldMkLst>
          <pc:docMk/>
          <pc:sldMk cId="1234052762" sldId="281"/>
        </pc:sldMkLst>
      </pc:sldChg>
      <pc:sldChg chg="modAnim">
        <pc:chgData name="Thomas Jonsson" userId="21641d7e-52d9-41d7-9f83-0187abc4d6e4" providerId="ADAL" clId="{1F32A62B-E098-284D-BCAA-5F6ACF69CABE}" dt="2023-04-18T08:14:24.433" v="1522"/>
        <pc:sldMkLst>
          <pc:docMk/>
          <pc:sldMk cId="3681149604" sldId="282"/>
        </pc:sldMkLst>
      </pc:sldChg>
      <pc:sldChg chg="modAnim">
        <pc:chgData name="Thomas Jonsson" userId="21641d7e-52d9-41d7-9f83-0187abc4d6e4" providerId="ADAL" clId="{1F32A62B-E098-284D-BCAA-5F6ACF69CABE}" dt="2023-04-18T08:15:14.739" v="1529"/>
        <pc:sldMkLst>
          <pc:docMk/>
          <pc:sldMk cId="4244508557" sldId="284"/>
        </pc:sldMkLst>
      </pc:sldChg>
      <pc:sldChg chg="addSp modSp new mod modAnim">
        <pc:chgData name="Thomas Jonsson" userId="21641d7e-52d9-41d7-9f83-0187abc4d6e4" providerId="ADAL" clId="{1F32A62B-E098-284D-BCAA-5F6ACF69CABE}" dt="2023-04-18T08:14:49.188" v="1526"/>
        <pc:sldMkLst>
          <pc:docMk/>
          <pc:sldMk cId="353017867" sldId="285"/>
        </pc:sldMkLst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2" creationId="{5A3074AA-8C36-BA5D-89CC-626FC158C1E7}"/>
          </ac:spMkLst>
        </pc:spChg>
        <pc:spChg chg="mod">
          <ac:chgData name="Thomas Jonsson" userId="21641d7e-52d9-41d7-9f83-0187abc4d6e4" providerId="ADAL" clId="{1F32A62B-E098-284D-BCAA-5F6ACF69CABE}" dt="2023-04-17T16:45:04.846" v="819" actId="20577"/>
          <ac:spMkLst>
            <pc:docMk/>
            <pc:sldMk cId="353017867" sldId="285"/>
            <ac:spMk id="3" creationId="{1448A5DD-30C6-65D9-B389-AF2391A89F97}"/>
          </ac:spMkLst>
        </pc:spChg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4" creationId="{1ECF80BE-3A57-8965-B3BF-F8F8E5A2A8F0}"/>
          </ac:spMkLst>
        </pc:spChg>
        <pc:spChg chg="mod">
          <ac:chgData name="Thomas Jonsson" userId="21641d7e-52d9-41d7-9f83-0187abc4d6e4" providerId="ADAL" clId="{1F32A62B-E098-284D-BCAA-5F6ACF69CABE}" dt="2023-04-17T16:31:40.002" v="187" actId="790"/>
          <ac:spMkLst>
            <pc:docMk/>
            <pc:sldMk cId="353017867" sldId="285"/>
            <ac:spMk id="5" creationId="{E7B3047C-CBF5-DA70-6ED8-3D5A0DD0B035}"/>
          </ac:spMkLst>
        </pc:spChg>
        <pc:spChg chg="add mod">
          <ac:chgData name="Thomas Jonsson" userId="21641d7e-52d9-41d7-9f83-0187abc4d6e4" providerId="ADAL" clId="{1F32A62B-E098-284D-BCAA-5F6ACF69CABE}" dt="2023-04-17T16:43:31.146" v="779" actId="207"/>
          <ac:spMkLst>
            <pc:docMk/>
            <pc:sldMk cId="353017867" sldId="285"/>
            <ac:spMk id="6" creationId="{7723307E-BD8A-D58D-1BC8-7F58EC266039}"/>
          </ac:spMkLst>
        </pc:spChg>
      </pc:sldChg>
      <pc:sldChg chg="addSp delSp modSp new mod modAnim">
        <pc:chgData name="Thomas Jonsson" userId="21641d7e-52d9-41d7-9f83-0187abc4d6e4" providerId="ADAL" clId="{1F32A62B-E098-284D-BCAA-5F6ACF69CABE}" dt="2023-04-17T17:09:24.595" v="1459"/>
        <pc:sldMkLst>
          <pc:docMk/>
          <pc:sldMk cId="1906028935" sldId="286"/>
        </pc:sldMkLst>
        <pc:spChg chg="mod">
          <ac:chgData name="Thomas Jonsson" userId="21641d7e-52d9-41d7-9f83-0187abc4d6e4" providerId="ADAL" clId="{1F32A62B-E098-284D-BCAA-5F6ACF69CABE}" dt="2023-04-17T17:01:29.744" v="1376" actId="20577"/>
          <ac:spMkLst>
            <pc:docMk/>
            <pc:sldMk cId="1906028935" sldId="286"/>
            <ac:spMk id="2" creationId="{ED1D6BBB-7281-FA69-ED4A-53F46DC1A20B}"/>
          </ac:spMkLst>
        </pc:spChg>
        <pc:spChg chg="mod">
          <ac:chgData name="Thomas Jonsson" userId="21641d7e-52d9-41d7-9f83-0187abc4d6e4" providerId="ADAL" clId="{1F32A62B-E098-284D-BCAA-5F6ACF69CABE}" dt="2023-04-17T17:08:01.931" v="1447" actId="20577"/>
          <ac:spMkLst>
            <pc:docMk/>
            <pc:sldMk cId="1906028935" sldId="286"/>
            <ac:spMk id="3" creationId="{9A4CA47A-6BA7-A208-0B89-6CB0BE5DDEFC}"/>
          </ac:spMkLst>
        </pc:spChg>
        <pc:spChg chg="del mod">
          <ac:chgData name="Thomas Jonsson" userId="21641d7e-52d9-41d7-9f83-0187abc4d6e4" providerId="ADAL" clId="{1F32A62B-E098-284D-BCAA-5F6ACF69CABE}" dt="2023-04-17T16:48:09.490" v="1043" actId="478"/>
          <ac:spMkLst>
            <pc:docMk/>
            <pc:sldMk cId="1906028935" sldId="286"/>
            <ac:spMk id="7" creationId="{BC89391F-52DA-672C-36DE-E5A99611AFFA}"/>
          </ac:spMkLst>
        </pc:spChg>
        <pc:spChg chg="add del mod">
          <ac:chgData name="Thomas Jonsson" userId="21641d7e-52d9-41d7-9f83-0187abc4d6e4" providerId="ADAL" clId="{1F32A62B-E098-284D-BCAA-5F6ACF69CABE}" dt="2023-04-17T16:57:47.117" v="1313"/>
          <ac:spMkLst>
            <pc:docMk/>
            <pc:sldMk cId="1906028935" sldId="286"/>
            <ac:spMk id="38" creationId="{099180D0-46F4-BB6A-B03C-DF850E7F7117}"/>
          </ac:spMkLst>
        </pc:spChg>
        <pc:spChg chg="add mod">
          <ac:chgData name="Thomas Jonsson" userId="21641d7e-52d9-41d7-9f83-0187abc4d6e4" providerId="ADAL" clId="{1F32A62B-E098-284D-BCAA-5F6ACF69CABE}" dt="2023-04-17T17:06:58.695" v="1438" actId="20577"/>
          <ac:spMkLst>
            <pc:docMk/>
            <pc:sldMk cId="1906028935" sldId="286"/>
            <ac:spMk id="39" creationId="{AD5B9D3E-5102-D42F-4F24-BCC188070FDC}"/>
          </ac:spMkLst>
        </pc:spChg>
        <pc:spChg chg="add mod">
          <ac:chgData name="Thomas Jonsson" userId="21641d7e-52d9-41d7-9f83-0187abc4d6e4" providerId="ADAL" clId="{1F32A62B-E098-284D-BCAA-5F6ACF69CABE}" dt="2023-04-17T17:06:40.241" v="1428" actId="114"/>
          <ac:spMkLst>
            <pc:docMk/>
            <pc:sldMk cId="1906028935" sldId="286"/>
            <ac:spMk id="40" creationId="{4D5FD1E1-C505-1B25-6F85-1FDEF5026B09}"/>
          </ac:spMkLst>
        </pc:spChg>
        <pc:spChg chg="add del mod">
          <ac:chgData name="Thomas Jonsson" userId="21641d7e-52d9-41d7-9f83-0187abc4d6e4" providerId="ADAL" clId="{1F32A62B-E098-284D-BCAA-5F6ACF69CABE}" dt="2023-04-17T16:57:43.532" v="1310" actId="478"/>
          <ac:spMkLst>
            <pc:docMk/>
            <pc:sldMk cId="1906028935" sldId="286"/>
            <ac:spMk id="41" creationId="{C383BD99-4D1B-5D0E-5E7D-75E553BEBC81}"/>
          </ac:spMkLst>
        </pc:spChg>
        <pc:spChg chg="add mod">
          <ac:chgData name="Thomas Jonsson" userId="21641d7e-52d9-41d7-9f83-0187abc4d6e4" providerId="ADAL" clId="{1F32A62B-E098-284D-BCAA-5F6ACF69CABE}" dt="2023-04-17T17:09:21.856" v="1458" actId="164"/>
          <ac:spMkLst>
            <pc:docMk/>
            <pc:sldMk cId="1906028935" sldId="286"/>
            <ac:spMk id="61" creationId="{3481D099-0F50-E2C9-CF55-BA5D02F36ED7}"/>
          </ac:spMkLst>
        </pc:spChg>
        <pc:grpChg chg="add mod">
          <ac:chgData name="Thomas Jonsson" userId="21641d7e-52d9-41d7-9f83-0187abc4d6e4" providerId="ADAL" clId="{1F32A62B-E098-284D-BCAA-5F6ACF69CABE}" dt="2023-04-17T16:58:43.059" v="1319" actId="1076"/>
          <ac:grpSpMkLst>
            <pc:docMk/>
            <pc:sldMk cId="1906028935" sldId="286"/>
            <ac:grpSpMk id="6" creationId="{2A1EA830-D2D1-9BD8-7E11-750645AD85F3}"/>
          </ac:grpSpMkLst>
        </pc:grpChg>
        <pc:grpChg chg="add mod">
          <ac:chgData name="Thomas Jonsson" userId="21641d7e-52d9-41d7-9f83-0187abc4d6e4" providerId="ADAL" clId="{1F32A62B-E098-284D-BCAA-5F6ACF69CABE}" dt="2023-04-17T17:02:16.417" v="1378" actId="1076"/>
          <ac:grpSpMkLst>
            <pc:docMk/>
            <pc:sldMk cId="1906028935" sldId="286"/>
            <ac:grpSpMk id="18" creationId="{9999DD44-D80E-0ED8-B0E6-E570D00C4B18}"/>
          </ac:grpSpMkLst>
        </pc:grpChg>
        <pc:grpChg chg="add del mod">
          <ac:chgData name="Thomas Jonsson" userId="21641d7e-52d9-41d7-9f83-0187abc4d6e4" providerId="ADAL" clId="{1F32A62B-E098-284D-BCAA-5F6ACF69CABE}" dt="2023-04-17T16:52:47.857" v="1191" actId="478"/>
          <ac:grpSpMkLst>
            <pc:docMk/>
            <pc:sldMk cId="1906028935" sldId="286"/>
            <ac:grpSpMk id="23" creationId="{6CF75482-721D-9E77-4607-C76523D363E8}"/>
          </ac:grpSpMkLst>
        </pc:grpChg>
        <pc:grpChg chg="add mod">
          <ac:chgData name="Thomas Jonsson" userId="21641d7e-52d9-41d7-9f83-0187abc4d6e4" providerId="ADAL" clId="{1F32A62B-E098-284D-BCAA-5F6ACF69CABE}" dt="2023-04-17T17:07:26.671" v="1441" actId="164"/>
          <ac:grpSpMkLst>
            <pc:docMk/>
            <pc:sldMk cId="1906028935" sldId="286"/>
            <ac:grpSpMk id="42" creationId="{0D8643E9-F089-D1A2-3A0D-5E2089A1373B}"/>
          </ac:grpSpMkLst>
        </pc:grpChg>
        <pc:grpChg chg="add mod">
          <ac:chgData name="Thomas Jonsson" userId="21641d7e-52d9-41d7-9f83-0187abc4d6e4" providerId="ADAL" clId="{1F32A62B-E098-284D-BCAA-5F6ACF69CABE}" dt="2023-04-17T17:06:57.480" v="1437" actId="20577"/>
          <ac:grpSpMkLst>
            <pc:docMk/>
            <pc:sldMk cId="1906028935" sldId="286"/>
            <ac:grpSpMk id="58" creationId="{5FB3CA5D-EFB7-7BAE-5AA3-DC3BD5561E32}"/>
          </ac:grpSpMkLst>
        </pc:grpChg>
        <pc:grpChg chg="add mod">
          <ac:chgData name="Thomas Jonsson" userId="21641d7e-52d9-41d7-9f83-0187abc4d6e4" providerId="ADAL" clId="{1F32A62B-E098-284D-BCAA-5F6ACF69CABE}" dt="2023-04-17T17:05:42.134" v="1415" actId="20577"/>
          <ac:grpSpMkLst>
            <pc:docMk/>
            <pc:sldMk cId="1906028935" sldId="286"/>
            <ac:grpSpMk id="59" creationId="{210DAB4E-CEB7-0042-70F8-2EB88E5AC206}"/>
          </ac:grpSpMkLst>
        </pc:grpChg>
        <pc:grpChg chg="add mod">
          <ac:chgData name="Thomas Jonsson" userId="21641d7e-52d9-41d7-9f83-0187abc4d6e4" providerId="ADAL" clId="{1F32A62B-E098-284D-BCAA-5F6ACF69CABE}" dt="2023-04-17T17:07:26.671" v="1441" actId="164"/>
          <ac:grpSpMkLst>
            <pc:docMk/>
            <pc:sldMk cId="1906028935" sldId="286"/>
            <ac:grpSpMk id="60" creationId="{BFBB1FE6-71E3-56A4-8E4D-39B7009E97D2}"/>
          </ac:grpSpMkLst>
        </pc:grpChg>
        <pc:grpChg chg="add mod">
          <ac:chgData name="Thomas Jonsson" userId="21641d7e-52d9-41d7-9f83-0187abc4d6e4" providerId="ADAL" clId="{1F32A62B-E098-284D-BCAA-5F6ACF69CABE}" dt="2023-04-17T17:09:21.856" v="1458" actId="164"/>
          <ac:grpSpMkLst>
            <pc:docMk/>
            <pc:sldMk cId="1906028935" sldId="286"/>
            <ac:grpSpMk id="64" creationId="{2C427FD6-D71C-F1F0-4F39-34B5382C0AEC}"/>
          </ac:grpSpMkLst>
        </pc:grpChg>
        <pc:cxnChg chg="mod">
          <ac:chgData name="Thomas Jonsson" userId="21641d7e-52d9-41d7-9f83-0187abc4d6e4" providerId="ADAL" clId="{1F32A62B-E098-284D-BCAA-5F6ACF69CABE}" dt="2023-04-17T16:48:06.039" v="1042"/>
          <ac:cxnSpMkLst>
            <pc:docMk/>
            <pc:sldMk cId="1906028935" sldId="286"/>
            <ac:cxnSpMk id="8" creationId="{3CCB1AA2-86F1-248D-6213-95A291368DD4}"/>
          </ac:cxnSpMkLst>
        </pc:cxnChg>
        <pc:cxnChg chg="mod">
          <ac:chgData name="Thomas Jonsson" userId="21641d7e-52d9-41d7-9f83-0187abc4d6e4" providerId="ADAL" clId="{1F32A62B-E098-284D-BCAA-5F6ACF69CABE}" dt="2023-04-17T16:48:06.039" v="1042"/>
          <ac:cxnSpMkLst>
            <pc:docMk/>
            <pc:sldMk cId="1906028935" sldId="286"/>
            <ac:cxnSpMk id="9" creationId="{6F9F8CBF-00E8-8A7C-3EA2-C33E2976C424}"/>
          </ac:cxnSpMkLst>
        </pc:cxnChg>
        <pc:cxnChg chg="add mod">
          <ac:chgData name="Thomas Jonsson" userId="21641d7e-52d9-41d7-9f83-0187abc4d6e4" providerId="ADAL" clId="{1F32A62B-E098-284D-BCAA-5F6ACF69CABE}" dt="2023-04-17T16:58:43.059" v="1319" actId="1076"/>
          <ac:cxnSpMkLst>
            <pc:docMk/>
            <pc:sldMk cId="1906028935" sldId="286"/>
            <ac:cxnSpMk id="11" creationId="{CD3818A1-D639-2E6C-36DC-EDDEFF0DCAE0}"/>
          </ac:cxnSpMkLst>
        </pc:cxnChg>
        <pc:cxnChg chg="add mod">
          <ac:chgData name="Thomas Jonsson" userId="21641d7e-52d9-41d7-9f83-0187abc4d6e4" providerId="ADAL" clId="{1F32A62B-E098-284D-BCAA-5F6ACF69CABE}" dt="2023-04-17T16:59:11.400" v="1325" actId="692"/>
          <ac:cxnSpMkLst>
            <pc:docMk/>
            <pc:sldMk cId="1906028935" sldId="286"/>
            <ac:cxnSpMk id="13" creationId="{26D8558C-7626-F70B-12E5-65EA9D7EE715}"/>
          </ac:cxnSpMkLst>
        </pc:cxnChg>
        <pc:cxnChg chg="mod">
          <ac:chgData name="Thomas Jonsson" userId="21641d7e-52d9-41d7-9f83-0187abc4d6e4" providerId="ADAL" clId="{1F32A62B-E098-284D-BCAA-5F6ACF69CABE}" dt="2023-04-17T16:52:24.648" v="1184"/>
          <ac:cxnSpMkLst>
            <pc:docMk/>
            <pc:sldMk cId="1906028935" sldId="286"/>
            <ac:cxnSpMk id="19" creationId="{8F490221-3191-5A90-7BEB-D4F5F36FC065}"/>
          </ac:cxnSpMkLst>
        </pc:cxnChg>
        <pc:cxnChg chg="mod">
          <ac:chgData name="Thomas Jonsson" userId="21641d7e-52d9-41d7-9f83-0187abc4d6e4" providerId="ADAL" clId="{1F32A62B-E098-284D-BCAA-5F6ACF69CABE}" dt="2023-04-17T16:52:24.648" v="1184"/>
          <ac:cxnSpMkLst>
            <pc:docMk/>
            <pc:sldMk cId="1906028935" sldId="286"/>
            <ac:cxnSpMk id="20" creationId="{A3F5940D-E3A8-2C33-3A77-4BDD58ACDD74}"/>
          </ac:cxnSpMkLst>
        </pc:cxnChg>
        <pc:cxnChg chg="add mod">
          <ac:chgData name="Thomas Jonsson" userId="21641d7e-52d9-41d7-9f83-0187abc4d6e4" providerId="ADAL" clId="{1F32A62B-E098-284D-BCAA-5F6ACF69CABE}" dt="2023-04-17T17:02:16.417" v="1378" actId="1076"/>
          <ac:cxnSpMkLst>
            <pc:docMk/>
            <pc:sldMk cId="1906028935" sldId="286"/>
            <ac:cxnSpMk id="21" creationId="{20E3B739-B251-DDB0-0A4E-BD2D455DD8F2}"/>
          </ac:cxnSpMkLst>
        </pc:cxnChg>
        <pc:cxnChg chg="add mod">
          <ac:chgData name="Thomas Jonsson" userId="21641d7e-52d9-41d7-9f83-0187abc4d6e4" providerId="ADAL" clId="{1F32A62B-E098-284D-BCAA-5F6ACF69CABE}" dt="2023-04-17T17:02:16.417" v="1378" actId="1076"/>
          <ac:cxnSpMkLst>
            <pc:docMk/>
            <pc:sldMk cId="1906028935" sldId="286"/>
            <ac:cxnSpMk id="22" creationId="{6596ADE4-35F8-2452-ACBE-99F6971C4332}"/>
          </ac:cxnSpMkLst>
        </pc:cxnChg>
        <pc:cxnChg chg="mod">
          <ac:chgData name="Thomas Jonsson" userId="21641d7e-52d9-41d7-9f83-0187abc4d6e4" providerId="ADAL" clId="{1F32A62B-E098-284D-BCAA-5F6ACF69CABE}" dt="2023-04-17T16:52:33.095" v="1186"/>
          <ac:cxnSpMkLst>
            <pc:docMk/>
            <pc:sldMk cId="1906028935" sldId="286"/>
            <ac:cxnSpMk id="24" creationId="{F9047588-73C8-8A57-158E-17DF9628B6B4}"/>
          </ac:cxnSpMkLst>
        </pc:cxnChg>
        <pc:cxnChg chg="mod">
          <ac:chgData name="Thomas Jonsson" userId="21641d7e-52d9-41d7-9f83-0187abc4d6e4" providerId="ADAL" clId="{1F32A62B-E098-284D-BCAA-5F6ACF69CABE}" dt="2023-04-17T16:52:33.095" v="1186"/>
          <ac:cxnSpMkLst>
            <pc:docMk/>
            <pc:sldMk cId="1906028935" sldId="286"/>
            <ac:cxnSpMk id="25" creationId="{D5516C83-C363-BBE0-AC33-DF9E81790FFB}"/>
          </ac:cxnSpMkLst>
        </pc:cxnChg>
        <pc:cxnChg chg="add del mod">
          <ac:chgData name="Thomas Jonsson" userId="21641d7e-52d9-41d7-9f83-0187abc4d6e4" providerId="ADAL" clId="{1F32A62B-E098-284D-BCAA-5F6ACF69CABE}" dt="2023-04-17T16:52:42.158" v="1188" actId="21"/>
          <ac:cxnSpMkLst>
            <pc:docMk/>
            <pc:sldMk cId="1906028935" sldId="286"/>
            <ac:cxnSpMk id="26" creationId="{F566DA16-79F4-CE90-A12B-7E1FD7508AC2}"/>
          </ac:cxnSpMkLst>
        </pc:cxnChg>
        <pc:cxnChg chg="add del mod">
          <ac:chgData name="Thomas Jonsson" userId="21641d7e-52d9-41d7-9f83-0187abc4d6e4" providerId="ADAL" clId="{1F32A62B-E098-284D-BCAA-5F6ACF69CABE}" dt="2023-04-17T16:52:38.517" v="1187" actId="478"/>
          <ac:cxnSpMkLst>
            <pc:docMk/>
            <pc:sldMk cId="1906028935" sldId="286"/>
            <ac:cxnSpMk id="27" creationId="{BF9D55A0-E2FB-264F-8735-9C98721D359D}"/>
          </ac:cxnSpMkLst>
        </pc:cxnChg>
        <pc:cxnChg chg="add mod">
          <ac:chgData name="Thomas Jonsson" userId="21641d7e-52d9-41d7-9f83-0187abc4d6e4" providerId="ADAL" clId="{1F32A62B-E098-284D-BCAA-5F6ACF69CABE}" dt="2023-04-17T17:05:42.134" v="1415" actId="20577"/>
          <ac:cxnSpMkLst>
            <pc:docMk/>
            <pc:sldMk cId="1906028935" sldId="286"/>
            <ac:cxnSpMk id="28" creationId="{8B132BD7-2329-6C01-9D10-F258358D184F}"/>
          </ac:cxnSpMkLst>
        </pc:cxnChg>
        <pc:cxnChg chg="add mod">
          <ac:chgData name="Thomas Jonsson" userId="21641d7e-52d9-41d7-9f83-0187abc4d6e4" providerId="ADAL" clId="{1F32A62B-E098-284D-BCAA-5F6ACF69CABE}" dt="2023-04-17T17:06:57.480" v="1437" actId="20577"/>
          <ac:cxnSpMkLst>
            <pc:docMk/>
            <pc:sldMk cId="1906028935" sldId="286"/>
            <ac:cxnSpMk id="31" creationId="{F3093F9B-F508-469D-4630-2AA402A396B9}"/>
          </ac:cxnSpMkLst>
        </pc:cxnChg>
        <pc:cxnChg chg="add del mod">
          <ac:chgData name="Thomas Jonsson" userId="21641d7e-52d9-41d7-9f83-0187abc4d6e4" providerId="ADAL" clId="{1F32A62B-E098-284D-BCAA-5F6ACF69CABE}" dt="2023-04-17T16:57:45.187" v="1311" actId="478"/>
          <ac:cxnSpMkLst>
            <pc:docMk/>
            <pc:sldMk cId="1906028935" sldId="286"/>
            <ac:cxnSpMk id="32" creationId="{3F89DB70-8FE8-5ED1-540B-2AD492707676}"/>
          </ac:cxnSpMkLst>
        </pc:cxnChg>
        <pc:cxnChg chg="add mod">
          <ac:chgData name="Thomas Jonsson" userId="21641d7e-52d9-41d7-9f83-0187abc4d6e4" providerId="ADAL" clId="{1F32A62B-E098-284D-BCAA-5F6ACF69CABE}" dt="2023-04-17T17:05:42.134" v="1415" actId="20577"/>
          <ac:cxnSpMkLst>
            <pc:docMk/>
            <pc:sldMk cId="1906028935" sldId="286"/>
            <ac:cxnSpMk id="33" creationId="{114911C2-B997-0A84-0B0A-B8F46C6FCCE0}"/>
          </ac:cxnSpMkLst>
        </pc:cxnChg>
        <pc:cxnChg chg="mod">
          <ac:chgData name="Thomas Jonsson" userId="21641d7e-52d9-41d7-9f83-0187abc4d6e4" providerId="ADAL" clId="{1F32A62B-E098-284D-BCAA-5F6ACF69CABE}" dt="2023-04-17T16:58:59.689" v="1321"/>
          <ac:cxnSpMkLst>
            <pc:docMk/>
            <pc:sldMk cId="1906028935" sldId="286"/>
            <ac:cxnSpMk id="43" creationId="{785163B2-5248-602D-5603-5B708C783951}"/>
          </ac:cxnSpMkLst>
        </pc:cxnChg>
        <pc:cxnChg chg="mod">
          <ac:chgData name="Thomas Jonsson" userId="21641d7e-52d9-41d7-9f83-0187abc4d6e4" providerId="ADAL" clId="{1F32A62B-E098-284D-BCAA-5F6ACF69CABE}" dt="2023-04-17T16:58:59.689" v="1321"/>
          <ac:cxnSpMkLst>
            <pc:docMk/>
            <pc:sldMk cId="1906028935" sldId="286"/>
            <ac:cxnSpMk id="44" creationId="{E74E1784-D5AF-2FFB-4EE1-405CD6D72679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45" creationId="{88A243CA-2409-08E9-E395-8E7F92634497}"/>
          </ac:cxnSpMkLst>
        </pc:cxnChg>
        <pc:cxnChg chg="add del mod">
          <ac:chgData name="Thomas Jonsson" userId="21641d7e-52d9-41d7-9f83-0187abc4d6e4" providerId="ADAL" clId="{1F32A62B-E098-284D-BCAA-5F6ACF69CABE}" dt="2023-04-17T16:59:27.759" v="1331" actId="478"/>
          <ac:cxnSpMkLst>
            <pc:docMk/>
            <pc:sldMk cId="1906028935" sldId="286"/>
            <ac:cxnSpMk id="46" creationId="{69CEAF9F-2ABA-BCB2-7B5D-06CA96DDE796}"/>
          </ac:cxnSpMkLst>
        </pc:cxnChg>
        <pc:cxnChg chg="add del mod">
          <ac:chgData name="Thomas Jonsson" userId="21641d7e-52d9-41d7-9f83-0187abc4d6e4" providerId="ADAL" clId="{1F32A62B-E098-284D-BCAA-5F6ACF69CABE}" dt="2023-04-17T16:59:27.759" v="1331" actId="478"/>
          <ac:cxnSpMkLst>
            <pc:docMk/>
            <pc:sldMk cId="1906028935" sldId="286"/>
            <ac:cxnSpMk id="47" creationId="{F1DB0CB0-28F3-4CB0-B27D-606F29C09D37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49" creationId="{FA142049-5EA9-28D7-1D00-A6113A78260F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0" creationId="{DAEE2D4F-6486-88E6-C855-BCBA184448CC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1" creationId="{711C2AA7-68AF-A53F-1A96-E948EB025CDD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2" creationId="{6D6B47D0-CC2D-839C-13E1-669342246AEA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4" creationId="{AE54229F-2A31-2953-C8E0-50AEB232D6EF}"/>
          </ac:cxnSpMkLst>
        </pc:cxnChg>
        <pc:cxnChg chg="add mod">
          <ac:chgData name="Thomas Jonsson" userId="21641d7e-52d9-41d7-9f83-0187abc4d6e4" providerId="ADAL" clId="{1F32A62B-E098-284D-BCAA-5F6ACF69CABE}" dt="2023-04-17T17:07:26.671" v="1441" actId="164"/>
          <ac:cxnSpMkLst>
            <pc:docMk/>
            <pc:sldMk cId="1906028935" sldId="286"/>
            <ac:cxnSpMk id="55" creationId="{00DC92DE-A451-783F-7B4F-31D6E7321DF6}"/>
          </ac:cxnSpMkLst>
        </pc:cxnChg>
        <pc:cxnChg chg="add mod">
          <ac:chgData name="Thomas Jonsson" userId="21641d7e-52d9-41d7-9f83-0187abc4d6e4" providerId="ADAL" clId="{1F32A62B-E098-284D-BCAA-5F6ACF69CABE}" dt="2023-04-17T17:07:38.322" v="1444" actId="1036"/>
          <ac:cxnSpMkLst>
            <pc:docMk/>
            <pc:sldMk cId="1906028935" sldId="286"/>
            <ac:cxnSpMk id="56" creationId="{C17A6D24-48C7-6EB2-B236-CA26AFCD9F06}"/>
          </ac:cxnSpMkLst>
        </pc:cxnChg>
        <pc:cxnChg chg="add mod">
          <ac:chgData name="Thomas Jonsson" userId="21641d7e-52d9-41d7-9f83-0187abc4d6e4" providerId="ADAL" clId="{1F32A62B-E098-284D-BCAA-5F6ACF69CABE}" dt="2023-04-17T17:09:21.856" v="1458" actId="164"/>
          <ac:cxnSpMkLst>
            <pc:docMk/>
            <pc:sldMk cId="1906028935" sldId="286"/>
            <ac:cxnSpMk id="63" creationId="{256D05D4-53C3-B866-96DD-E0E8E6609412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8/04/2023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3914F2-CBAF-CB47-B99A-99EC0E7F8EA5}" type="datetimeFigureOut">
              <a:rPr lang="sv-SE" smtClean="0"/>
              <a:pPr/>
              <a:t>2023-04-18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Klicka här för att ändra format på bakgrundstexten</a:t>
            </a:r>
          </a:p>
          <a:p>
            <a:pPr lvl="1"/>
            <a:r>
              <a:rPr lang="x-none"/>
              <a:t>Nivå två</a:t>
            </a:r>
          </a:p>
          <a:p>
            <a:pPr lvl="2"/>
            <a:r>
              <a:rPr lang="x-none"/>
              <a:t>Nivå tre</a:t>
            </a:r>
          </a:p>
          <a:p>
            <a:pPr lvl="3"/>
            <a:r>
              <a:rPr lang="x-none"/>
              <a:t>Nivå fyra</a:t>
            </a:r>
          </a:p>
          <a:p>
            <a:pPr lvl="4"/>
            <a:r>
              <a:rPr lang="x-non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B761E2-97C1-0540-9E39-285A9506D9D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2169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FD48E465-0F73-8E4F-91B3-F42DC3598F54}" type="datetime4">
              <a:rPr lang="sv-SE" smtClean="0"/>
              <a:t>18 april 20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3398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3398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16E1366-47D6-754F-9BC1-854ACAD6A30B}" type="datetime4">
              <a:rPr lang="sv-SE" smtClean="0"/>
              <a:t>18 april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03765C2-3D32-1C47-82E5-0845EBE11808}" type="datetime4">
              <a:rPr lang="sv-SE" smtClean="0"/>
              <a:t>18 april 20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3CD4AA4-8F16-144B-9D30-D34AFE5B0421}" type="datetime4">
              <a:rPr lang="sv-SE" smtClean="0"/>
              <a:t>18 april 20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FF032FC-B243-F045-B896-BC7EB595C053}" type="datetime4">
              <a:rPr lang="sv-SE" smtClean="0"/>
              <a:t>18 april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3197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EFBF52C-7E11-A346-943F-7C48B3F62751}" type="datetime4">
              <a:rPr lang="sv-SE" smtClean="0"/>
              <a:t>18 april 20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F36CB4A-D955-D84F-98C7-5EB1D3AD11B6}" type="datetime4">
              <a:rPr lang="sv-SE" smtClean="0"/>
              <a:t>18 april 20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ED2210, Lecture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r>
              <a:rPr lang="sv-SE"/>
              <a:t>ED2210, Lecture 1</a:t>
            </a: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4FF7A201-62AA-9649-AFDF-86B095327BCA}" type="datetime4">
              <a:rPr lang="sv-SE" smtClean="0"/>
              <a:t>18 april 2023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hf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1161181"/>
            <a:ext cx="6984337" cy="813923"/>
          </a:xfrm>
        </p:spPr>
        <p:txBody>
          <a:bodyPr>
            <a:normAutofit/>
          </a:bodyPr>
          <a:lstStyle/>
          <a:p>
            <a:r>
              <a:rPr lang="sv-SE" dirty="0"/>
              <a:t>Övning 5</a:t>
            </a:r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2626075"/>
            <a:ext cx="6987075" cy="475940"/>
          </a:xfrm>
        </p:spPr>
        <p:txBody>
          <a:bodyPr/>
          <a:lstStyle/>
          <a:p>
            <a:r>
              <a:rPr lang="sv-SE" dirty="0"/>
              <a:t>Av Thomas Johnson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ED00D-B670-328D-8CBC-832A6378F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llrum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3F35240-89B1-882F-51C0-568D1110AF8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38667" y="1405467"/>
                <a:ext cx="8805333" cy="4470400"/>
              </a:xfrm>
            </p:spPr>
            <p:txBody>
              <a:bodyPr>
                <a:normAutofit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sv-SE" dirty="0"/>
                  <a:t>Nollrummet är alla </a:t>
                </a:r>
                <a14:m>
                  <m:oMath xmlns:m="http://schemas.openxmlformats.org/officeDocument/2006/math"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så att </a:t>
                </a:r>
                <a14:m>
                  <m:oMath xmlns:m="http://schemas.openxmlformats.org/officeDocument/2006/math"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 i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1" i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sv-SE" dirty="0"/>
                  <a:t>. </a:t>
                </a:r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  <a:p>
                <a:pPr>
                  <a:lnSpc>
                    <a:spcPct val="110000"/>
                  </a:lnSpc>
                </a:pPr>
                <a:r>
                  <a:rPr lang="sv-SE" b="1" dirty="0"/>
                  <a:t>Exempel</a:t>
                </a:r>
                <a:r>
                  <a:rPr lang="sv-SE" dirty="0"/>
                  <a:t>:</a:t>
                </a:r>
              </a:p>
              <a:p>
                <a:pPr>
                  <a:lnSpc>
                    <a:spcPct val="11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sz="200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sv-SE" b="1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sz="2000" b="0" i="1" smtClean="0">
                          <a:latin typeface="Cambria Math" panose="02040503050406030204" pitchFamily="18" charset="0"/>
                        </a:rPr>
                        <m:t>=0</m:t>
                      </m:r>
                      <m:r>
                        <a:rPr lang="sv-SE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9</m:t>
                                </m:r>
                              </m:e>
                              <m:e>
                                <m:r>
                                  <a:rPr lang="sv-SE" sz="2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sz="2000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4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i="1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i="1" smtClean="0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{"/>
                          <m:endChr m:val=""/>
                          <m:ctrlPr>
                            <a:rPr lang="sv-SE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m:rPr>
                                        <m:brk m:alnAt="7"/>
                                      </m:r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m:rPr>
                                    <m:brk m:alnAt="7"/>
                                  </m:rP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−2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0     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sv-SE" b="0" i="1" smtClean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sv-SE" b="0" i="1" smtClean="0">
                                    <a:latin typeface="Cambria Math" panose="02040503050406030204" pitchFamily="18" charset="0"/>
                                  </a:rPr>
                                  <m:t>      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i="1">
                          <a:latin typeface="Cambria Math" panose="02040503050406030204" pitchFamily="18" charset="0"/>
                        </a:rPr>
                        <m:t>~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𝑡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sv-SE" dirty="0"/>
              </a:p>
              <a:p>
                <a:pPr>
                  <a:lnSpc>
                    <a:spcPct val="110000"/>
                  </a:lnSpc>
                </a:pPr>
                <a:r>
                  <a:rPr lang="sv-SE" dirty="0"/>
                  <a:t>Nollrummet är alla vektorer man får när man stoppar in olika värden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sv-SE" dirty="0"/>
                  <a:t> i: </a:t>
                </a:r>
                <a:br>
                  <a:rPr lang="sv-SE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i="0" smtClean="0">
                          <a:latin typeface="Cambria Math" panose="02040503050406030204" pitchFamily="18" charset="0"/>
                        </a:rPr>
                        <m:t>𝐱</m:t>
                      </m:r>
                      <m:r>
                        <a:rPr lang="sv-SE" b="0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𝑡</m:t>
                      </m:r>
                      <m:d>
                        <m:dPr>
                          <m:begChr m:val="["/>
                          <m:endChr m:val="]"/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sv-SE" dirty="0"/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  <a:p>
                <a:pPr>
                  <a:lnSpc>
                    <a:spcPct val="110000"/>
                  </a:lnSpc>
                </a:pPr>
                <a:endParaRPr lang="sv-SE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3F35240-89B1-882F-51C0-568D1110AF8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8667" y="1405467"/>
                <a:ext cx="8805333" cy="4470400"/>
              </a:xfrm>
              <a:blipFill>
                <a:blip r:embed="rId2"/>
                <a:stretch>
                  <a:fillRect l="-1729" t="-24363" b="-2266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81815-C59D-FA5A-359A-342BC1ECF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6B4C9E-31AB-55FA-0224-5B2C286BD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4508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19750" y="404870"/>
            <a:ext cx="6935788" cy="668338"/>
          </a:xfrm>
        </p:spPr>
        <p:txBody>
          <a:bodyPr/>
          <a:lstStyle/>
          <a:p>
            <a:r>
              <a:rPr lang="en-GB" dirty="0"/>
              <a:t>LU </a:t>
            </a:r>
            <a:r>
              <a:rPr lang="en-GB" dirty="0" err="1"/>
              <a:t>Factorisering</a:t>
            </a:r>
            <a:endParaRPr lang="en-GB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>
              <a:xfrm>
                <a:off x="333487" y="1183340"/>
                <a:ext cx="8541571" cy="4840941"/>
              </a:xfrm>
            </p:spPr>
            <p:txBody>
              <a:bodyPr>
                <a:normAutofit/>
              </a:bodyPr>
              <a:lstStyle/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/>
                  <a:t>L star för “Lower-triangular” </a:t>
                </a:r>
                <a:r>
                  <a:rPr lang="en-GB" dirty="0" err="1"/>
                  <a:t>och</a:t>
                </a:r>
                <a:r>
                  <a:rPr lang="en-GB" dirty="0"/>
                  <a:t> U för “Upper-triangular”</a:t>
                </a:r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Faktorisering</a:t>
                </a:r>
                <a:r>
                  <a:rPr lang="en-GB" dirty="0"/>
                  <a:t>: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𝐿𝑈</m:t>
                    </m:r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Hur</a:t>
                </a:r>
                <a:r>
                  <a:rPr lang="en-GB" dirty="0"/>
                  <a:t> </a:t>
                </a:r>
                <a:r>
                  <a:rPr lang="en-GB" dirty="0" err="1"/>
                  <a:t>gör</a:t>
                </a:r>
                <a:r>
                  <a:rPr lang="en-GB" dirty="0"/>
                  <a:t> man? Jo, </a:t>
                </a:r>
                <a:r>
                  <a:rPr lang="en-GB" dirty="0" err="1"/>
                  <a:t>först</a:t>
                </a:r>
                <a:r>
                  <a:rPr lang="en-GB" dirty="0"/>
                  <a:t> </a:t>
                </a:r>
                <a:r>
                  <a:rPr lang="en-GB" dirty="0" err="1"/>
                  <a:t>radreducerar</a:t>
                </a:r>
                <a:r>
                  <a:rPr lang="en-GB" dirty="0"/>
                  <a:t> man: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A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1/2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3/2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4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  <m:m>
                      <m:mPr>
                        <m:mcs>
                          <m:mc>
                            <m:mcPr>
                              <m:count m:val="1"/>
                              <m:mcJc m:val="center"/>
                            </m:mcPr>
                          </m:mc>
                        </m:mcs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mPr>
                      <m:mr>
                        <m:e/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m:rPr>
                              <m:lit/>
                            </m:rPr>
                            <a:rPr lang="sv-SE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+4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mr>
                    </m:m>
                    <m:r>
                      <a:rPr lang="sv-SE" i="1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  <m:m>
                      <m:mPr>
                        <m:mcs>
                          <m:mc>
                            <m:mcPr>
                              <m:count m:val="1"/>
                              <m:mcJc m:val="center"/>
                            </m:mcPr>
                          </m:mc>
                        </m:mcs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mPr>
                      <m:mr>
                        <m:e/>
                      </m:mr>
                      <m:mr>
                        <m:e/>
                      </m:mr>
                      <m:m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+8∗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mr>
                    </m:m>
                    <m:r>
                      <a:rPr lang="sv-SE" i="1" smtClean="0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Därmed</a:t>
                </a:r>
                <a:r>
                  <a:rPr lang="en-GB" dirty="0"/>
                  <a:t> </a:t>
                </a:r>
                <a:r>
                  <a:rPr lang="en-GB" dirty="0" err="1"/>
                  <a:t>är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b="0" i="0" smtClean="0">
                        <a:latin typeface="Cambria Math" panose="02040503050406030204" pitchFamily="18" charset="0"/>
                      </a:rPr>
                      <m:t>U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8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179388" indent="-179388">
                  <a:lnSpc>
                    <a:spcPct val="110000"/>
                  </a:lnSpc>
                  <a:buFont typeface="Arial"/>
                  <a:buChar char="•"/>
                </a:pPr>
                <a:r>
                  <a:rPr lang="en-GB" dirty="0" err="1"/>
                  <a:t>Matrisen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err="1"/>
                  <a:t>innehåller</a:t>
                </a:r>
                <a:r>
                  <a:rPr lang="en-GB" dirty="0"/>
                  <a:t> </a:t>
                </a:r>
                <a:r>
                  <a:rPr lang="en-GB" dirty="0" err="1"/>
                  <a:t>faktorerna</a:t>
                </a:r>
                <a:r>
                  <a:rPr lang="en-GB" dirty="0"/>
                  <a:t> vi </a:t>
                </a:r>
                <a:r>
                  <a:rPr lang="en-GB" dirty="0" err="1"/>
                  <a:t>använt</a:t>
                </a:r>
                <a:r>
                  <a:rPr lang="en-GB" dirty="0"/>
                  <a:t> vid </a:t>
                </a:r>
                <a:r>
                  <a:rPr lang="en-GB" dirty="0" err="1"/>
                  <a:t>radreducerin</a:t>
                </a:r>
                <a:r>
                  <a:rPr lang="en-GB" dirty="0"/>
                  <a:t> - </a:t>
                </a:r>
                <a:r>
                  <a:rPr lang="en-GB" dirty="0" err="1"/>
                  <a:t>byt</a:t>
                </a:r>
                <a:r>
                  <a:rPr lang="en-GB" dirty="0"/>
                  <a:t> </a:t>
                </a:r>
                <a:r>
                  <a:rPr lang="en-GB" dirty="0" err="1"/>
                  <a:t>tecken</a:t>
                </a:r>
                <a:r>
                  <a:rPr lang="en-GB" dirty="0"/>
                  <a:t>!!</a:t>
                </a:r>
                <a:br>
                  <a:rPr lang="en-GB" dirty="0"/>
                </a:br>
                <a14:m>
                  <m:oMath xmlns:m="http://schemas.openxmlformats.org/officeDocument/2006/math">
                    <m:r>
                      <a:rPr lang="en-GB" i="1" dirty="0">
                        <a:latin typeface="Cambria Math" panose="02040503050406030204" pitchFamily="18" charset="0"/>
                      </a:rPr>
                      <m:t>𝐿</m:t>
                    </m:r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_____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en-GB" dirty="0"/>
              </a:p>
              <a:p>
                <a:pPr marL="534988" lvl="1" indent="-179388">
                  <a:lnSpc>
                    <a:spcPct val="110000"/>
                  </a:lnSpc>
                  <a:buFont typeface="Arial"/>
                  <a:buChar char="•"/>
                </a:pPr>
                <a:endParaRPr lang="en-GB" dirty="0"/>
              </a:p>
            </p:txBody>
          </p:sp>
        </mc:Choice>
        <mc:Fallback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3487" y="1183340"/>
                <a:ext cx="8541571" cy="4840941"/>
              </a:xfrm>
              <a:blipFill>
                <a:blip r:embed="rId2"/>
                <a:stretch>
                  <a:fillRect l="-1783" t="-15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Platshållare för datum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B8CFE-ED7C-614C-89D8-EFDC77911ED0}" type="datetime4">
              <a:rPr lang="sv-SE" smtClean="0"/>
              <a:t>18 april 2023</a:t>
            </a:fld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6161E50-CB9D-994A-43FE-38337CA2E445}"/>
              </a:ext>
            </a:extLst>
          </p:cNvPr>
          <p:cNvGrpSpPr/>
          <p:nvPr/>
        </p:nvGrpSpPr>
        <p:grpSpPr>
          <a:xfrm>
            <a:off x="2875252" y="2660725"/>
            <a:ext cx="1562757" cy="2902740"/>
            <a:chOff x="2875252" y="2660725"/>
            <a:chExt cx="1562757" cy="290274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3963663-5449-96DC-9740-C083FFAAA24C}"/>
                </a:ext>
              </a:extLst>
            </p:cNvPr>
            <p:cNvSpPr/>
            <p:nvPr/>
          </p:nvSpPr>
          <p:spPr>
            <a:xfrm>
              <a:off x="3210924" y="2660725"/>
              <a:ext cx="616615" cy="387275"/>
            </a:xfrm>
            <a:prstGeom prst="ellipse">
              <a:avLst/>
            </a:prstGeom>
            <a:solidFill>
              <a:schemeClr val="accent3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C95B2924-055D-2FFC-4C42-603F11369584}"/>
                </a:ext>
              </a:extLst>
            </p:cNvPr>
            <p:cNvSpPr/>
            <p:nvPr/>
          </p:nvSpPr>
          <p:spPr>
            <a:xfrm>
              <a:off x="2875252" y="2962122"/>
              <a:ext cx="1127344" cy="229262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chemeClr val="accent3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E60F9BB-AEED-BB5C-F58A-0F66ADED23F8}"/>
                </a:ext>
              </a:extLst>
            </p:cNvPr>
            <p:cNvSpPr txBox="1"/>
            <p:nvPr/>
          </p:nvSpPr>
          <p:spPr>
            <a:xfrm>
              <a:off x="3932742" y="5194133"/>
              <a:ext cx="5052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chemeClr val="accent3"/>
                  </a:solidFill>
                </a:rPr>
                <a:t>1/2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96D3F7-0C6B-5F7D-1052-4A3BAD4EED4D}"/>
              </a:ext>
            </a:extLst>
          </p:cNvPr>
          <p:cNvGrpSpPr/>
          <p:nvPr/>
        </p:nvGrpSpPr>
        <p:grpSpPr>
          <a:xfrm>
            <a:off x="3164062" y="3004800"/>
            <a:ext cx="1228384" cy="2875445"/>
            <a:chOff x="3164062" y="3004800"/>
            <a:chExt cx="1228384" cy="287544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7D6F45A-6E10-8C7B-3032-B29878D8E8B7}"/>
                </a:ext>
              </a:extLst>
            </p:cNvPr>
            <p:cNvSpPr/>
            <p:nvPr/>
          </p:nvSpPr>
          <p:spPr>
            <a:xfrm>
              <a:off x="3290400" y="3004800"/>
              <a:ext cx="470878" cy="329463"/>
            </a:xfrm>
            <a:prstGeom prst="ellipse">
              <a:avLst/>
            </a:prstGeom>
            <a:solidFill>
              <a:srgbClr val="0070C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25B9F90-7E03-73EE-BA7A-5CE27401E60C}"/>
                </a:ext>
              </a:extLst>
            </p:cNvPr>
            <p:cNvSpPr txBox="1"/>
            <p:nvPr/>
          </p:nvSpPr>
          <p:spPr>
            <a:xfrm>
              <a:off x="4002596" y="551091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rgbClr val="0070C0"/>
                  </a:solidFill>
                </a:rPr>
                <a:t>-4</a:t>
              </a: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03DAAE6-E28B-CCF2-0502-22EAE80D22C5}"/>
                </a:ext>
              </a:extLst>
            </p:cNvPr>
            <p:cNvSpPr/>
            <p:nvPr/>
          </p:nvSpPr>
          <p:spPr>
            <a:xfrm>
              <a:off x="3164062" y="3315601"/>
              <a:ext cx="824738" cy="229262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rgbClr val="0070C0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5D111FC-7E17-59B6-09BA-740AD6E1F7F4}"/>
              </a:ext>
            </a:extLst>
          </p:cNvPr>
          <p:cNvGrpSpPr/>
          <p:nvPr/>
        </p:nvGrpSpPr>
        <p:grpSpPr>
          <a:xfrm>
            <a:off x="4737244" y="2946988"/>
            <a:ext cx="1634194" cy="2912338"/>
            <a:chOff x="4737244" y="2946988"/>
            <a:chExt cx="1634194" cy="291233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A1C5E8A-1A4B-8FB8-8C66-EC6D7BECD36D}"/>
                </a:ext>
              </a:extLst>
            </p:cNvPr>
            <p:cNvSpPr/>
            <p:nvPr/>
          </p:nvSpPr>
          <p:spPr>
            <a:xfrm>
              <a:off x="5887344" y="2946988"/>
              <a:ext cx="484094" cy="387275"/>
            </a:xfrm>
            <a:prstGeom prst="ellipse">
              <a:avLst/>
            </a:prstGeom>
            <a:solidFill>
              <a:srgbClr val="FF000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67C04A6-CB40-119E-B02D-4E93E2CC0357}"/>
                </a:ext>
              </a:extLst>
            </p:cNvPr>
            <p:cNvSpPr txBox="1"/>
            <p:nvPr/>
          </p:nvSpPr>
          <p:spPr>
            <a:xfrm>
              <a:off x="4737244" y="5489994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solidFill>
                    <a:srgbClr val="FF0000"/>
                  </a:solidFill>
                </a:rPr>
                <a:t>-8</a:t>
              </a: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B180A6B-7294-8D15-D850-430846904190}"/>
                </a:ext>
              </a:extLst>
            </p:cNvPr>
            <p:cNvSpPr/>
            <p:nvPr/>
          </p:nvSpPr>
          <p:spPr>
            <a:xfrm rot="1267275" flipH="1">
              <a:off x="5459045" y="3233090"/>
              <a:ext cx="250733" cy="2500416"/>
            </a:xfrm>
            <a:custGeom>
              <a:avLst/>
              <a:gdLst>
                <a:gd name="connsiteX0" fmla="*/ 504050 w 1418450"/>
                <a:gd name="connsiteY0" fmla="*/ 0 h 2319130"/>
                <a:gd name="connsiteX1" fmla="*/ 40224 w 1418450"/>
                <a:gd name="connsiteY1" fmla="*/ 1245704 h 2319130"/>
                <a:gd name="connsiteX2" fmla="*/ 1418450 w 1418450"/>
                <a:gd name="connsiteY2" fmla="*/ 2319130 h 2319130"/>
                <a:gd name="connsiteX3" fmla="*/ 1418450 w 1418450"/>
                <a:gd name="connsiteY3" fmla="*/ 2319130 h 2319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8450" h="2319130">
                  <a:moveTo>
                    <a:pt x="504050" y="0"/>
                  </a:moveTo>
                  <a:cubicBezTo>
                    <a:pt x="195937" y="429591"/>
                    <a:pt x="-112176" y="859182"/>
                    <a:pt x="40224" y="1245704"/>
                  </a:cubicBezTo>
                  <a:cubicBezTo>
                    <a:pt x="192624" y="1632226"/>
                    <a:pt x="1418450" y="2319130"/>
                    <a:pt x="1418450" y="2319130"/>
                  </a:cubicBezTo>
                  <a:lnTo>
                    <a:pt x="1418450" y="2319130"/>
                  </a:lnTo>
                </a:path>
              </a:pathLst>
            </a:custGeom>
            <a:noFill/>
            <a:ln>
              <a:solidFill>
                <a:srgbClr val="FF0000"/>
              </a:solidFill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1B57A-5204-0934-D872-7DF8FE423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ontief </a:t>
            </a:r>
            <a:r>
              <a:rPr lang="en-GB" dirty="0" err="1"/>
              <a:t>modell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41B00C-A8AE-95C2-C8AD-D7F6E8B4E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227" y="1248266"/>
            <a:ext cx="7272411" cy="862022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n-GB" sz="1700" dirty="0"/>
              <a:t>Leontifs model </a:t>
            </a:r>
            <a:r>
              <a:rPr lang="en-GB" sz="1700" dirty="0" err="1"/>
              <a:t>bygger</a:t>
            </a:r>
            <a:r>
              <a:rPr lang="en-GB" sz="1700" dirty="0"/>
              <a:t> </a:t>
            </a:r>
            <a:r>
              <a:rPr lang="en-GB" sz="1700" dirty="0" err="1"/>
              <a:t>på</a:t>
            </a:r>
            <a:r>
              <a:rPr lang="en-GB" sz="1700" dirty="0"/>
              <a:t>: Om du </a:t>
            </a:r>
            <a:r>
              <a:rPr lang="en-GB" sz="1700" dirty="0" err="1"/>
              <a:t>vill</a:t>
            </a:r>
            <a:r>
              <a:rPr lang="en-GB" sz="1700" dirty="0"/>
              <a:t> </a:t>
            </a:r>
            <a:r>
              <a:rPr lang="en-GB" sz="1700" dirty="0" err="1"/>
              <a:t>framställa</a:t>
            </a:r>
            <a:r>
              <a:rPr lang="en-GB" sz="1700" dirty="0"/>
              <a:t> </a:t>
            </a:r>
            <a:r>
              <a:rPr lang="en-GB" sz="1700" dirty="0" err="1"/>
              <a:t>tex</a:t>
            </a:r>
            <a:r>
              <a:rPr lang="en-GB" sz="1700" dirty="0"/>
              <a:t> </a:t>
            </a:r>
            <a:r>
              <a:rPr lang="en-GB" sz="1700" dirty="0" err="1"/>
              <a:t>stål</a:t>
            </a:r>
            <a:r>
              <a:rPr lang="en-GB" sz="1700" dirty="0"/>
              <a:t> </a:t>
            </a:r>
            <a:r>
              <a:rPr lang="en-GB" sz="1700" dirty="0" err="1"/>
              <a:t>kommer</a:t>
            </a:r>
            <a:r>
              <a:rPr lang="en-GB" sz="1700" dirty="0"/>
              <a:t> du </a:t>
            </a:r>
            <a:r>
              <a:rPr lang="en-GB" sz="1700" dirty="0" err="1"/>
              <a:t>behöva</a:t>
            </a:r>
            <a:r>
              <a:rPr lang="en-GB" sz="1700" dirty="0"/>
              <a:t> </a:t>
            </a:r>
            <a:r>
              <a:rPr lang="en-GB" sz="1700" dirty="0" err="1"/>
              <a:t>stål</a:t>
            </a:r>
            <a:r>
              <a:rPr lang="en-GB" sz="1700" dirty="0"/>
              <a:t> </a:t>
            </a:r>
            <a:r>
              <a:rPr lang="en-GB" sz="1700" dirty="0" err="1"/>
              <a:t>och</a:t>
            </a:r>
            <a:r>
              <a:rPr lang="en-GB" sz="1700" dirty="0"/>
              <a:t> </a:t>
            </a:r>
            <a:r>
              <a:rPr lang="en-GB" sz="1700" dirty="0" err="1"/>
              <a:t>andra</a:t>
            </a:r>
            <a:r>
              <a:rPr lang="en-GB" sz="1700" dirty="0"/>
              <a:t> </a:t>
            </a:r>
            <a:r>
              <a:rPr lang="en-GB" sz="1700" dirty="0" err="1"/>
              <a:t>varar</a:t>
            </a:r>
            <a:r>
              <a:rPr lang="en-GB" sz="1700" dirty="0"/>
              <a:t> under </a:t>
            </a:r>
            <a:r>
              <a:rPr lang="en-GB" sz="1700" dirty="0" err="1"/>
              <a:t>produktionen</a:t>
            </a:r>
            <a:r>
              <a:rPr lang="en-GB" sz="1700" dirty="0"/>
              <a:t>.</a:t>
            </a:r>
          </a:p>
          <a:p>
            <a:pPr>
              <a:lnSpc>
                <a:spcPct val="130000"/>
              </a:lnSpc>
            </a:pPr>
            <a:endParaRPr lang="en-GB" sz="17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E486C-3C67-BFCA-75A5-3A4B675FF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DD454-198A-D845-BC67-B28326D87AAC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47AEB-E1BE-B056-21DF-901280EB0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2E8B12-D4A3-BB54-B86A-71E35F5DD2A4}"/>
                  </a:ext>
                </a:extLst>
              </p:cNvPr>
              <p:cNvSpPr txBox="1"/>
              <p:nvPr/>
            </p:nvSpPr>
            <p:spPr>
              <a:xfrm>
                <a:off x="1039641" y="2004305"/>
                <a:ext cx="6674071" cy="185531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GB" sz="1800" b="1" dirty="0"/>
                  <a:t>Exempel:</a:t>
                </a:r>
                <a:endParaRPr lang="en-GB" sz="1800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öretag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GB" sz="1800" dirty="0"/>
                  <a:t> ton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/>
                  <a:t>I </a:t>
                </a:r>
                <a:r>
                  <a:rPr lang="en-GB" sz="1800" dirty="0" err="1"/>
                  <a:t>produktione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konsumerar</a:t>
                </a:r>
                <a:r>
                  <a:rPr lang="en-GB" sz="1800" dirty="0"/>
                  <a:t> man </a:t>
                </a:r>
                <a14:m>
                  <m:oMath xmlns:m="http://schemas.openxmlformats.org/officeDocument/2006/math"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0.1</m:t>
                    </m:r>
                    <m:r>
                      <a:rPr lang="sv-SE" sz="1800" i="1" dirty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fterfråga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stål</a:t>
                </a:r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r>
                  <a:rPr lang="en-GB" sz="1800" dirty="0"/>
                  <a:t> ton.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Leontief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kvation</a:t>
                </a:r>
                <a:r>
                  <a:rPr lang="en-GB" sz="1800" dirty="0"/>
                  <a:t> för </a:t>
                </a:r>
                <a:r>
                  <a:rPr lang="en-GB" sz="1800" dirty="0" err="1"/>
                  <a:t>a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ppfyll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fterfrågan</a:t>
                </a:r>
                <a:r>
                  <a:rPr lang="en-GB" sz="1800" dirty="0"/>
                  <a:t>:  </a:t>
                </a:r>
                <a14:m>
                  <m:oMath xmlns:m="http://schemas.openxmlformats.org/officeDocument/2006/math">
                    <m:r>
                      <a:rPr lang="sv-SE" sz="1800" i="1" dirty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=0.1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𝑑</m:t>
                    </m:r>
                  </m:oMath>
                </a14:m>
                <a:endParaRPr lang="en-GB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2E8B12-D4A3-BB54-B86A-71E35F5DD2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9641" y="2004305"/>
                <a:ext cx="6674071" cy="1855316"/>
              </a:xfrm>
              <a:prstGeom prst="rect">
                <a:avLst/>
              </a:prstGeom>
              <a:blipFill>
                <a:blip r:embed="rId2"/>
                <a:stretch>
                  <a:fillRect l="-951" b="-40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35F84E5-FDCD-853B-8642-035B95CE2C20}"/>
                  </a:ext>
                </a:extLst>
              </p:cNvPr>
              <p:cNvSpPr txBox="1"/>
              <p:nvPr/>
            </p:nvSpPr>
            <p:spPr>
              <a:xfrm>
                <a:off x="1039641" y="4001804"/>
                <a:ext cx="5513882" cy="185538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GB" sz="1800" b="1" dirty="0"/>
                  <a:t>Allmän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ler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varor</a:t>
                </a:r>
                <a:r>
                  <a:rPr lang="en-GB" sz="1800" dirty="0"/>
                  <a:t>: </a:t>
                </a:r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Mängde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producerat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sz="1800" b="1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Behövs</a:t>
                </a:r>
                <a:r>
                  <a:rPr lang="en-GB" sz="1800" dirty="0"/>
                  <a:t> till </a:t>
                </a:r>
                <a:r>
                  <a:rPr lang="en-GB" sz="1800" dirty="0" err="1"/>
                  <a:t>produktionen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en-GB" sz="1800" b="1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Efterfrågan</a:t>
                </a:r>
                <a:r>
                  <a:rPr lang="en-GB" sz="1800" dirty="0"/>
                  <a:t>: </a:t>
                </a:r>
                <a14:m>
                  <m:oMath xmlns:m="http://schemas.openxmlformats.org/officeDocument/2006/math"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𝐝</m:t>
                    </m:r>
                  </m:oMath>
                </a14:m>
                <a:endParaRPr lang="sv-SE" sz="1800" b="0" dirty="0"/>
              </a:p>
              <a:p>
                <a:pPr marL="457200" indent="-457200">
                  <a:lnSpc>
                    <a:spcPct val="130000"/>
                  </a:lnSpc>
                  <a:buFont typeface="+mj-lt"/>
                  <a:buAutoNum type="arabicPeriod"/>
                </a:pPr>
                <a:r>
                  <a:rPr lang="en-GB" sz="1800" dirty="0" err="1"/>
                  <a:t>Leontief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kvation</a:t>
                </a:r>
                <a:r>
                  <a:rPr lang="sv-SE" sz="1800" dirty="0"/>
                  <a:t>:  </a:t>
                </a:r>
                <a14:m>
                  <m:oMath xmlns:m="http://schemas.openxmlformats.org/officeDocument/2006/math"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𝐝</m:t>
                    </m:r>
                    <m:r>
                      <a:rPr lang="sv-SE" sz="1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⟺</m:t>
                    </m:r>
                    <m:d>
                      <m:dPr>
                        <m:ctrlPr>
                          <a:rPr lang="sv-S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𝐼</m:t>
                        </m:r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</m:e>
                    </m:d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𝐱</m:t>
                    </m:r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sv-SE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𝐝</m:t>
                    </m:r>
                  </m:oMath>
                </a14:m>
                <a:r>
                  <a:rPr lang="en-GB" sz="1800" b="1" dirty="0"/>
                  <a:t> 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35F84E5-FDCD-853B-8642-035B95CE2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9641" y="4001804"/>
                <a:ext cx="5513882" cy="1855380"/>
              </a:xfrm>
              <a:prstGeom prst="rect">
                <a:avLst/>
              </a:prstGeom>
              <a:blipFill>
                <a:blip r:embed="rId3"/>
                <a:stretch>
                  <a:fillRect l="-1152" b="-40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42819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F028E-BA93-6B91-B6E6-148A35E61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orgrafi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339849" y="1582739"/>
                <a:ext cx="7591879" cy="4078286"/>
              </a:xfrm>
            </p:spPr>
            <p:txBody>
              <a:bodyPr>
                <a:normAutofit/>
              </a:bodyPr>
              <a:lstStyle/>
              <a:p>
                <a:r>
                  <a:rPr lang="sv-SE" dirty="0"/>
                  <a:t>En bild på en skärm består av punkter </a:t>
                </a:r>
                <a14:m>
                  <m:oMath xmlns:m="http://schemas.openxmlformats.org/officeDocument/2006/math">
                    <m:r>
                      <a:rPr lang="sv-SE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d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sv-SE" dirty="0"/>
                  <a:t> med olika färger.</a:t>
                </a:r>
              </a:p>
              <a:p>
                <a:r>
                  <a:rPr lang="sv-SE" dirty="0"/>
                  <a:t>Hur flyttar vi en punkter?</a:t>
                </a:r>
              </a:p>
              <a:p>
                <a:r>
                  <a:rPr lang="sv-SE" dirty="0"/>
                  <a:t>Jo, med linjär avbildning </a:t>
                </a:r>
                <a14:m>
                  <m:oMath xmlns:m="http://schemas.openxmlformats.org/officeDocument/2006/math">
                    <m:r>
                      <a:rPr lang="sv-SE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⟺</m:t>
                    </m:r>
                  </m:oMath>
                </a14:m>
                <a:r>
                  <a:rPr lang="sv-SE" dirty="0"/>
                  <a:t> multiplicera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med en matris,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endParaRPr lang="sv-SE" dirty="0"/>
              </a:p>
              <a:p>
                <a:endParaRPr lang="sv-SE" b="1" dirty="0"/>
              </a:p>
              <a:p>
                <a:r>
                  <a:rPr lang="sv-SE" b="1" dirty="0"/>
                  <a:t>Exempel</a:t>
                </a:r>
                <a:r>
                  <a:rPr lang="sv-SE" dirty="0"/>
                  <a:t>: 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Låt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vara hörnen på en triangel.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Multiplicera </a:t>
                </a:r>
                <a14:m>
                  <m:oMath xmlns:m="http://schemas.openxmlformats.org/officeDocument/2006/math">
                    <m:r>
                      <a:rPr lang="sv-SE" b="1">
                        <a:latin typeface="Cambria Math" panose="02040503050406030204" pitchFamily="18" charset="0"/>
                      </a:rPr>
                      <m:t>𝐱</m:t>
                    </m:r>
                  </m:oMath>
                </a14:m>
                <a:r>
                  <a:rPr lang="sv-SE" dirty="0"/>
                  <a:t> med rotationsmatrisen: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2"/>
                                  <m:mcJc m:val="center"/>
                                </m:mcPr>
                              </m:mc>
                            </m:mcs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e>
                          </m:mr>
                          <m:m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Vi får då en ny triangel: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3CE3FF9-BFA2-D94F-D7F0-C36D69C48EC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339849" y="1582739"/>
                <a:ext cx="7591879" cy="4078286"/>
              </a:xfrm>
              <a:blipFill>
                <a:blip r:embed="rId2"/>
                <a:stretch>
                  <a:fillRect l="-2003" t="-1863" r="-50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31E66-5485-3751-D441-732E3059B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9B2F8-186D-934E-8E7A-3D99269BCF7C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45229-9348-D883-1F1E-87F0E43AD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56F5695-16C1-583D-63BF-34398C35AB95}"/>
              </a:ext>
            </a:extLst>
          </p:cNvPr>
          <p:cNvGrpSpPr/>
          <p:nvPr/>
        </p:nvGrpSpPr>
        <p:grpSpPr>
          <a:xfrm>
            <a:off x="5838219" y="3110593"/>
            <a:ext cx="800100" cy="636814"/>
            <a:chOff x="5812971" y="2792186"/>
            <a:chExt cx="800100" cy="636814"/>
          </a:xfrm>
        </p:grpSpPr>
        <p:sp>
          <p:nvSpPr>
            <p:cNvPr id="7" name="Triangle 6">
              <a:extLst>
                <a:ext uri="{FF2B5EF4-FFF2-40B4-BE49-F238E27FC236}">
                  <a16:creationId xmlns:a16="http://schemas.microsoft.com/office/drawing/2014/main" id="{91762E29-2BD9-4381-6ED8-48257D698E74}"/>
                </a:ext>
              </a:extLst>
            </p:cNvPr>
            <p:cNvSpPr/>
            <p:nvPr/>
          </p:nvSpPr>
          <p:spPr>
            <a:xfrm>
              <a:off x="5812971" y="2922814"/>
              <a:ext cx="555172" cy="506186"/>
            </a:xfrm>
            <a:prstGeom prst="triangle">
              <a:avLst/>
            </a:prstGeom>
            <a:solidFill>
              <a:schemeClr val="accent3">
                <a:alpha val="15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E2391714-32B5-EBBF-D715-3D9F26D74A61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00540060-5340-E5C7-7FC2-7C46A82E7607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D18F029-395F-A7B8-CE0A-30418803B482}"/>
              </a:ext>
            </a:extLst>
          </p:cNvPr>
          <p:cNvGrpSpPr/>
          <p:nvPr/>
        </p:nvGrpSpPr>
        <p:grpSpPr>
          <a:xfrm>
            <a:off x="4612824" y="4834393"/>
            <a:ext cx="1322616" cy="747256"/>
            <a:chOff x="5290455" y="2681744"/>
            <a:chExt cx="1322616" cy="747256"/>
          </a:xfrm>
        </p:grpSpPr>
        <p:sp>
          <p:nvSpPr>
            <p:cNvPr id="15" name="Triangle 14">
              <a:extLst>
                <a:ext uri="{FF2B5EF4-FFF2-40B4-BE49-F238E27FC236}">
                  <a16:creationId xmlns:a16="http://schemas.microsoft.com/office/drawing/2014/main" id="{74E944D9-36E5-CCF8-710D-D86623A1B923}"/>
                </a:ext>
              </a:extLst>
            </p:cNvPr>
            <p:cNvSpPr/>
            <p:nvPr/>
          </p:nvSpPr>
          <p:spPr>
            <a:xfrm rot="16200000">
              <a:off x="5265962" y="2881992"/>
              <a:ext cx="555172" cy="506186"/>
            </a:xfrm>
            <a:prstGeom prst="triangle">
              <a:avLst/>
            </a:prstGeom>
            <a:solidFill>
              <a:schemeClr val="accent3">
                <a:alpha val="15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C457490-D8E9-5DDE-DFC5-F979AED53B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2971" y="2681744"/>
              <a:ext cx="0" cy="74725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D799A654-03A5-EE1E-55D7-8F852A2F9C7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5319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2DE2D-0DD8-0FD2-CA12-C5F775D08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torgrafik: </a:t>
            </a:r>
            <a:r>
              <a:rPr lang="en-GB" dirty="0" err="1"/>
              <a:t>Flytta</a:t>
            </a:r>
            <a:r>
              <a:rPr lang="en-GB" dirty="0"/>
              <a:t> </a:t>
            </a:r>
            <a:r>
              <a:rPr lang="en-GB" dirty="0" err="1"/>
              <a:t>punkter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>
                  <a:lnSpc>
                    <a:spcPct val="110000"/>
                  </a:lnSpc>
                </a:pPr>
                <a:r>
                  <a:rPr lang="en-GB" dirty="0"/>
                  <a:t>Linjära </a:t>
                </a:r>
                <a:r>
                  <a:rPr lang="en-GB" dirty="0" err="1"/>
                  <a:t>avbildningar</a:t>
                </a:r>
                <a:r>
                  <a:rPr lang="en-GB" dirty="0"/>
                  <a:t> </a:t>
                </a:r>
                <a:r>
                  <a:rPr lang="en-GB" dirty="0" err="1"/>
                  <a:t>har</a:t>
                </a:r>
                <a:r>
                  <a:rPr lang="en-GB" dirty="0"/>
                  <a:t> </a:t>
                </a:r>
                <a:r>
                  <a:rPr lang="en-GB" dirty="0" err="1"/>
                  <a:t>egenskapen</a:t>
                </a:r>
                <a:r>
                  <a:rPr lang="en-GB" dirty="0"/>
                  <a:t>: 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GB" b="1" i="0" dirty="0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GB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b="1" i="0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GB" dirty="0"/>
                  <a:t>.</a:t>
                </a:r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 err="1"/>
                  <a:t>Hur</a:t>
                </a:r>
                <a:r>
                  <a:rPr lang="en-GB" dirty="0"/>
                  <a:t> </a:t>
                </a:r>
                <a:r>
                  <a:rPr lang="en-GB" dirty="0" err="1"/>
                  <a:t>flyttar</a:t>
                </a:r>
                <a:r>
                  <a:rPr lang="en-GB" dirty="0"/>
                  <a:t> vi </a:t>
                </a:r>
                <a:r>
                  <a:rPr lang="en-GB" dirty="0" err="1"/>
                  <a:t>punkten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GB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 till </a:t>
                </a:r>
                <a:r>
                  <a:rPr lang="en-GB" dirty="0" err="1"/>
                  <a:t>tex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en-GB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?</a:t>
                </a:r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/>
                  <a:t>Jo, vi </a:t>
                </a:r>
                <a:r>
                  <a:rPr lang="en-GB" dirty="0" err="1"/>
                  <a:t>byter</a:t>
                </a:r>
                <a:r>
                  <a:rPr lang="en-GB" dirty="0"/>
                  <a:t> </a:t>
                </a:r>
                <a:r>
                  <a:rPr lang="en-GB" dirty="0" err="1"/>
                  <a:t>ut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</m:d>
                      </m:e>
                      <m:sup>
                        <m:r>
                          <a:rPr lang="sv-SE" b="0" i="1" dirty="0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 mo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r>
                  <a:rPr lang="en-GB" dirty="0"/>
                  <a:t>…</a:t>
                </a:r>
              </a:p>
              <a:p>
                <a:pPr>
                  <a:lnSpc>
                    <a:spcPct val="110000"/>
                  </a:lnSpc>
                </a:pPr>
                <a:br>
                  <a:rPr lang="en-GB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sv-SE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sv-SE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solidFill>
                                      <a:schemeClr val="accent4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  <m:r>
                        <a:rPr lang="sv-SE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sv-SE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i="1" dirty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sv-SE" b="0" i="1" dirty="0" smtClean="0">
                                    <a:solidFill>
                                      <a:schemeClr val="accent4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  <m:r>
                                  <a:rPr lang="sv-SE" b="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sv-SE" b="0" i="1" dirty="0" smtClean="0">
                                    <a:solidFill>
                                      <a:srgbClr val="FF0000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</m:mr>
                            <m:mr>
                              <m:e>
                                <m:r>
                                  <a:rPr lang="sv-SE" i="1" dirty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  <a:p>
                <a:pPr>
                  <a:lnSpc>
                    <a:spcPct val="110000"/>
                  </a:lnSpc>
                </a:pPr>
                <a:endParaRPr lang="en-GB" dirty="0"/>
              </a:p>
              <a:p>
                <a:pPr>
                  <a:lnSpc>
                    <a:spcPct val="110000"/>
                  </a:lnSpc>
                </a:pPr>
                <a:r>
                  <a:rPr lang="en-GB" dirty="0" err="1"/>
                  <a:t>Så</a:t>
                </a:r>
                <a:r>
                  <a:rPr lang="en-GB" dirty="0"/>
                  <a:t>, vi </a:t>
                </a:r>
                <a:r>
                  <a:rPr lang="en-GB" dirty="0" err="1"/>
                  <a:t>kan</a:t>
                </a:r>
                <a:r>
                  <a:rPr lang="en-GB" dirty="0"/>
                  <a:t> </a:t>
                </a:r>
                <a:r>
                  <a:rPr lang="en-GB" dirty="0" err="1"/>
                  <a:t>flytta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sv-SE" b="0" i="1" dirty="0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GB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sv-SE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  <m:r>
                              <a:rPr lang="sv-SE" i="1" dirty="0">
                                <a:latin typeface="Cambria Math" panose="02040503050406030204" pitchFamily="18" charset="0"/>
                              </a:rPr>
                              <m:t>,1</m:t>
                            </m:r>
                          </m:e>
                        </m:d>
                      </m:e>
                      <m:sup>
                        <m:r>
                          <a:rPr lang="sv-SE" i="1" dirty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8051755-FFCF-5A3C-D4EA-A4706A3C41E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2194" t="-1553" b="-155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336BA-5268-8357-A74F-3A2598B1E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BE2A3-FFDB-F922-E48A-CD329D384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4052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911A1-056D-3133-E859-FA046012A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Underrum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A47301B-0DD1-93AA-12D0-B80519BBAE4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10243" y="1373527"/>
                <a:ext cx="7965395" cy="4504757"/>
              </a:xfrm>
            </p:spPr>
            <p:txBody>
              <a:bodyPr>
                <a:no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GB" sz="1800" dirty="0"/>
                  <a:t>Om </a:t>
                </a:r>
                <a:r>
                  <a:rPr lang="en-GB" sz="1800" dirty="0" err="1"/>
                  <a:t>ni</a:t>
                </a:r>
                <a:r>
                  <a:rPr lang="en-GB" sz="1800" dirty="0"/>
                  <a:t> </a:t>
                </a:r>
                <a:r>
                  <a:rPr lang="en-GB" sz="1800" dirty="0" err="1"/>
                  <a:t>vill</a:t>
                </a:r>
                <a:r>
                  <a:rPr lang="en-GB" sz="1800" dirty="0"/>
                  <a:t> </a:t>
                </a:r>
                <a:r>
                  <a:rPr lang="en-GB" sz="1800" dirty="0" err="1"/>
                  <a:t>a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Linjär</a:t>
                </a:r>
                <a:r>
                  <a:rPr lang="en-GB" sz="1800" dirty="0"/>
                  <a:t> Algebra ska </a:t>
                </a:r>
                <a:r>
                  <a:rPr lang="en-GB" sz="1800" dirty="0" err="1"/>
                  <a:t>kännas</a:t>
                </a:r>
                <a:r>
                  <a:rPr lang="en-GB" sz="1800" dirty="0"/>
                  <a:t> </a:t>
                </a:r>
                <a:r>
                  <a:rPr lang="en-GB" sz="1800" dirty="0" err="1"/>
                  <a:t>intuitivt</a:t>
                </a:r>
                <a:r>
                  <a:rPr lang="en-GB" sz="1800" dirty="0"/>
                  <a:t> – </a:t>
                </a:r>
                <a:r>
                  <a:rPr lang="en-GB" sz="1800" dirty="0" err="1"/>
                  <a:t>lär</a:t>
                </a:r>
                <a:r>
                  <a:rPr lang="en-GB" sz="1800" dirty="0"/>
                  <a:t> er om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!</a:t>
                </a:r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r>
                  <a:rPr lang="en-GB" sz="1800" dirty="0"/>
                  <a:t>I  </a:t>
                </a:r>
                <a:r>
                  <a:rPr lang="en-GB" sz="1800" dirty="0" err="1"/>
                  <a:t>praktiken</a:t>
                </a:r>
                <a:r>
                  <a:rPr lang="en-GB" sz="1800" dirty="0"/>
                  <a:t>: 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1800" dirty="0"/>
                  <a:t> är </a:t>
                </a:r>
                <a:r>
                  <a:rPr lang="en-GB" sz="1800" dirty="0" err="1"/>
                  <a:t>hela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sz="1800" dirty="0"/>
                  <a:t>,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n</a:t>
                </a:r>
                <a:r>
                  <a:rPr lang="en-GB" sz="1800" dirty="0"/>
                  <a:t> </a:t>
                </a:r>
                <a:r>
                  <a:rPr lang="en-GB" sz="1800" b="1" dirty="0" err="1"/>
                  <a:t>linj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genom</a:t>
                </a:r>
                <a:r>
                  <a:rPr lang="en-GB" sz="1800" dirty="0"/>
                  <a:t> </a:t>
                </a:r>
                <a:r>
                  <a:rPr lang="en-GB" sz="1800" dirty="0" err="1"/>
                  <a:t>origo</a:t>
                </a:r>
                <a:endParaRPr lang="en-GB" sz="1800" dirty="0"/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hela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GB" sz="1800" dirty="0"/>
                  <a:t>,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n</a:t>
                </a:r>
                <a:r>
                  <a:rPr lang="en-GB" sz="1800" dirty="0"/>
                  <a:t> </a:t>
                </a:r>
                <a:r>
                  <a:rPr lang="en-GB" sz="1800" b="1" dirty="0" err="1"/>
                  <a:t>linj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l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b="1" dirty="0"/>
                  <a:t>plan</a:t>
                </a:r>
                <a:r>
                  <a:rPr lang="en-GB" sz="1800" dirty="0"/>
                  <a:t> </a:t>
                </a:r>
                <a:r>
                  <a:rPr lang="en-GB" sz="1800" dirty="0" err="1"/>
                  <a:t>genom</a:t>
                </a:r>
                <a:r>
                  <a:rPr lang="en-GB" sz="1800" dirty="0"/>
                  <a:t> </a:t>
                </a:r>
                <a:r>
                  <a:rPr lang="en-GB" sz="1800" dirty="0" err="1"/>
                  <a:t>origo</a:t>
                </a:r>
                <a:endParaRPr lang="en-GB" sz="1800" dirty="0"/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r>
                  <a:rPr lang="en-GB" sz="1800" dirty="0" err="1"/>
                  <a:t>Tv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matematiska</a:t>
                </a:r>
                <a:r>
                  <a:rPr lang="en-GB" sz="1800" dirty="0"/>
                  <a:t> </a:t>
                </a:r>
                <a:r>
                  <a:rPr lang="en-GB" sz="1800" dirty="0" err="1"/>
                  <a:t>regle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krävs</a:t>
                </a:r>
                <a:r>
                  <a:rPr lang="en-GB" sz="1800" dirty="0"/>
                  <a:t> för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en-GB" sz="180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: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och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tal</a:t>
                </a:r>
                <a:r>
                  <a:rPr lang="en-GB" sz="1800" dirty="0"/>
                  <a:t>, </a:t>
                </a:r>
                <a:r>
                  <a:rPr lang="en-GB" sz="1800" dirty="0" err="1"/>
                  <a:t>då</a:t>
                </a:r>
                <a:r>
                  <a:rPr lang="en-GB" sz="1800" dirty="0"/>
                  <a:t>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GB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𝐲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då </a:t>
                </a:r>
                <a:r>
                  <a:rPr lang="en-GB" sz="1800" dirty="0" err="1"/>
                  <a:t>är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𝐲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</a:t>
                </a:r>
              </a:p>
              <a:p>
                <a:pPr>
                  <a:lnSpc>
                    <a:spcPct val="120000"/>
                  </a:lnSpc>
                </a:pPr>
                <a:br>
                  <a:rPr lang="en-GB" sz="1800" dirty="0"/>
                </a:br>
                <a:r>
                  <a:rPr lang="en-GB" sz="1800" b="1" dirty="0" err="1"/>
                  <a:t>Exempel</a:t>
                </a:r>
                <a:r>
                  <a:rPr lang="en-GB" sz="1800" b="1" dirty="0"/>
                  <a:t>: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b="1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0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b="0" i="1" dirty="0" smtClean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 och </a:t>
                </a:r>
                <a14:m>
                  <m:oMath xmlns:m="http://schemas.openxmlformats.org/officeDocument/2006/math"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GB" sz="1800" dirty="0"/>
                  <a:t> , </a:t>
                </a:r>
                <a:r>
                  <a:rPr lang="en-GB" sz="1800" dirty="0" err="1"/>
                  <a:t>därmed</a:t>
                </a:r>
                <a:r>
                  <a:rPr lang="en-GB" sz="1800" dirty="0"/>
                  <a:t> </a:t>
                </a:r>
                <a14:m>
                  <m:oMath xmlns:m="http://schemas.openxmlformats.org/officeDocument/2006/math">
                    <m:r>
                      <a:rPr lang="sv-SE" sz="1800" i="1" dirty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sv-SE" sz="1800" b="1" i="0" dirty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1" i="0" dirty="0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sz="1800" i="1" dirty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 sz="1800" i="1" dirty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GB" sz="1800" i="1" dirty="0">
                        <a:latin typeface="Cambria Math" panose="02040503050406030204" pitchFamily="18" charset="0"/>
                      </a:rPr>
                      <m:t>𝑈</m:t>
                    </m:r>
                  </m:oMath>
                </a14:m>
                <a:r>
                  <a:rPr lang="en-GB" sz="1800" dirty="0"/>
                  <a:t>. </a:t>
                </a:r>
              </a:p>
              <a:p>
                <a:pPr>
                  <a:lnSpc>
                    <a:spcPct val="120000"/>
                  </a:lnSpc>
                </a:pPr>
                <a:r>
                  <a:rPr lang="en-GB" sz="1800" dirty="0" err="1"/>
                  <a:t>Origo</a:t>
                </a:r>
                <a:r>
                  <a:rPr lang="en-GB" sz="1800" dirty="0"/>
                  <a:t> </a:t>
                </a:r>
                <a:r>
                  <a:rPr lang="en-GB" sz="1800" dirty="0" err="1"/>
                  <a:t>måste</a:t>
                </a:r>
                <a:r>
                  <a:rPr lang="en-GB" sz="1800" dirty="0"/>
                  <a:t> </a:t>
                </a:r>
                <a:r>
                  <a:rPr lang="en-GB" sz="1800" dirty="0" err="1"/>
                  <a:t>alltid</a:t>
                </a:r>
                <a:r>
                  <a:rPr lang="en-GB" sz="1800" dirty="0"/>
                  <a:t> </a:t>
                </a:r>
                <a:r>
                  <a:rPr lang="en-GB" sz="1800" dirty="0" err="1"/>
                  <a:t>finnas</a:t>
                </a:r>
                <a:r>
                  <a:rPr lang="en-GB" sz="1800" dirty="0"/>
                  <a:t> I </a:t>
                </a:r>
                <a:r>
                  <a:rPr lang="en-GB" sz="1800" dirty="0" err="1"/>
                  <a:t>ett</a:t>
                </a:r>
                <a:r>
                  <a:rPr lang="en-GB" sz="1800" dirty="0"/>
                  <a:t> </a:t>
                </a:r>
                <a:r>
                  <a:rPr lang="en-GB" sz="1800" dirty="0" err="1"/>
                  <a:t>underrum</a:t>
                </a:r>
                <a:r>
                  <a:rPr lang="en-GB" sz="1800" dirty="0"/>
                  <a:t>!</a:t>
                </a:r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  <a:p>
                <a:pPr>
                  <a:lnSpc>
                    <a:spcPct val="120000"/>
                  </a:lnSpc>
                </a:pPr>
                <a:endParaRPr lang="en-GB" sz="180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A47301B-0DD1-93AA-12D0-B80519BBAE4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0243" y="1373527"/>
                <a:ext cx="7965395" cy="4504757"/>
              </a:xfrm>
              <a:blipFill>
                <a:blip r:embed="rId2"/>
                <a:stretch>
                  <a:fillRect l="-1911" t="-1408" b="-253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A25258-2632-51FC-DE16-8500B5F2B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C7FF69-C3D6-9092-A46D-7F18D0323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1149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074AA-8C36-BA5D-89CC-626FC158C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s – hur man representerar ett rum!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448A5DD-30C6-65D9-B389-AF2391A89F9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279699" y="1344706"/>
                <a:ext cx="8659905" cy="4561242"/>
              </a:xfrm>
            </p:spPr>
            <p:txBody>
              <a:bodyPr>
                <a:normAutofit/>
              </a:bodyPr>
              <a:lstStyle/>
              <a:p>
                <a:r>
                  <a:rPr lang="sv-SE" b="1" dirty="0"/>
                  <a:t>Exempel 1</a:t>
                </a:r>
                <a:r>
                  <a:rPr lang="sv-SE" dirty="0"/>
                  <a:t>: Den vanligaste ”basen” är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,  </m:t>
                        </m:r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sub>
                        </m:sSub>
                      </m:e>
                    </m:d>
                  </m:oMath>
                </a14:m>
                <a:endParaRPr lang="sv-SE" dirty="0"/>
              </a:p>
              <a:p>
                <a:pPr lvl="1"/>
                <a:r>
                  <a:rPr lang="sv-SE" dirty="0"/>
                  <a:t>Den denna bas kan vi skriva alla vektorer i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sv-SE" dirty="0"/>
                  <a:t>! </a:t>
                </a:r>
                <a:br>
                  <a:rPr lang="sv-SE" dirty="0"/>
                </a:br>
                <a14:m>
                  <m:oMath xmlns:m="http://schemas.openxmlformats.org/officeDocument/2006/math">
                    <m:r>
                      <a:rPr lang="sv-SE" b="1" i="0" dirty="0" smtClean="0">
                        <a:latin typeface="Cambria Math" panose="02040503050406030204" pitchFamily="18" charset="0"/>
                      </a:rPr>
                      <m:t>𝐫</m:t>
                    </m:r>
                    <m:r>
                      <a:rPr lang="sv-SE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𝑥</m:t>
                    </m:r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sv-SE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sv-SE" b="0" i="1" smtClean="0">
                        <a:latin typeface="Cambria Math" panose="02040503050406030204" pitchFamily="18" charset="0"/>
                      </a:rPr>
                      <m:t>𝑦</m:t>
                    </m:r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</m:oMath>
                </a14:m>
                <a:endParaRPr lang="sv-SE" dirty="0"/>
              </a:p>
              <a:p>
                <a:pPr lvl="1"/>
                <a:r>
                  <a:rPr lang="sv-SE" dirty="0"/>
                  <a:t>Efters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 i="0" smtClean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sv-SE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,0</m:t>
                        </m:r>
                      </m:e>
                    </m:d>
                  </m:oMath>
                </a14:m>
                <a:r>
                  <a:rPr lang="sv-SE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sv-SE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0,1</m:t>
                        </m:r>
                      </m:e>
                    </m:d>
                  </m:oMath>
                </a14:m>
                <a:r>
                  <a:rPr lang="sv-SE" dirty="0"/>
                  <a:t> kan vi skriva</a:t>
                </a:r>
              </a:p>
              <a:p>
                <a:pPr marL="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1" dirty="0">
                          <a:latin typeface="Cambria Math" panose="02040503050406030204" pitchFamily="18" charset="0"/>
                        </a:rPr>
                        <m:t>𝐫</m:t>
                      </m:r>
                      <m:r>
                        <a:rPr lang="sv-SE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sv-SE" i="1" dirty="0"/>
              </a:p>
              <a:p>
                <a:endParaRPr lang="sv-SE" i="1" dirty="0"/>
              </a:p>
              <a:p>
                <a:endParaRPr lang="sv-SE" i="1" dirty="0"/>
              </a:p>
              <a:p>
                <a:endParaRPr lang="sv-SE" i="1" dirty="0"/>
              </a:p>
              <a:p>
                <a:r>
                  <a:rPr lang="sv-SE" i="1" dirty="0"/>
                  <a:t>Finns det andra baser?....JA!</a:t>
                </a:r>
              </a:p>
              <a:p>
                <a:r>
                  <a:rPr lang="sv-SE" b="1" dirty="0"/>
                  <a:t>Exempel 2</a:t>
                </a:r>
                <a:r>
                  <a:rPr lang="sv-SE" dirty="0"/>
                  <a:t>: Den möjlig bas är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dirty="0"/>
                  <a:t> nä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0"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</m:oMath>
                </a14:m>
                <a:r>
                  <a:rPr lang="sv-SE" dirty="0"/>
                  <a:t> </a:t>
                </a:r>
                <a14:m>
                  <m:oMath xmlns:m="http://schemas.openxmlformats.org/officeDocument/2006/math">
                    <m:r>
                      <a:rPr lang="sv-SE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0" smtClean="0"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endParaRPr lang="sv-SE" dirty="0"/>
              </a:p>
              <a:p>
                <a:r>
                  <a:rPr lang="sv-SE" dirty="0"/>
                  <a:t>Hur fungerar denna bas?</a:t>
                </a:r>
              </a:p>
              <a:p>
                <a:endParaRPr lang="sv-SE" i="1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1448A5DD-30C6-65D9-B389-AF2391A89F9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79699" y="1344706"/>
                <a:ext cx="8659905" cy="4561242"/>
              </a:xfrm>
              <a:blipFill>
                <a:blip r:embed="rId2"/>
                <a:stretch>
                  <a:fillRect l="-1906" t="-138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F80BE-3A57-8965-B3BF-F8F8E5A2A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B3047C-CBF5-DA70-6ED8-3D5A0DD0B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723307E-BD8A-D58D-1BC8-7F58EC266039}"/>
                  </a:ext>
                </a:extLst>
              </p:cNvPr>
              <p:cNvSpPr txBox="1"/>
              <p:nvPr/>
            </p:nvSpPr>
            <p:spPr>
              <a:xfrm>
                <a:off x="828338" y="3203089"/>
                <a:ext cx="7035501" cy="736099"/>
              </a:xfrm>
              <a:prstGeom prst="rect">
                <a:avLst/>
              </a:prstGeom>
              <a:solidFill>
                <a:schemeClr val="accent1">
                  <a:alpha val="14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sv-SE" sz="2000" dirty="0"/>
                  <a:t>Allmänt: Givet en bas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sz="2000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sz="2000" b="0" i="0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sz="2000" b="0" i="0" smtClean="0">
                            <a:latin typeface="Cambria Math" panose="02040503050406030204" pitchFamily="18" charset="0"/>
                          </a:rPr>
                          <m:t>,  </m:t>
                        </m:r>
                        <m:sSub>
                          <m:sSubPr>
                            <m:ctrlPr>
                              <a:rPr lang="sv-SE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sz="2000" b="1" i="0" smtClean="0">
                                <a:latin typeface="Cambria Math" panose="02040503050406030204" pitchFamily="18" charset="0"/>
                              </a:rPr>
                              <m:t>𝐞</m:t>
                            </m:r>
                          </m:e>
                          <m:sub>
                            <m:r>
                              <a:rPr lang="sv-SE" sz="2000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sz="2000" dirty="0"/>
                  <a:t> så skapar man nya vektor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sv-SE" sz="2000" i="0">
                        <a:latin typeface="Cambria Math" panose="02040503050406030204" pitchFamily="18" charset="0"/>
                      </a:rPr>
                      <m:t>x</m:t>
                    </m:r>
                    <m:sSub>
                      <m:sSubPr>
                        <m:ctrlPr>
                          <a:rPr lang="sv-S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2000" b="1" i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sv-SE" sz="2000" i="0">
                            <a:latin typeface="Cambria Math" panose="02040503050406030204" pitchFamily="18" charset="0"/>
                          </a:rPr>
                          <m:t>x</m:t>
                        </m:r>
                      </m:sub>
                    </m:sSub>
                    <m:r>
                      <a:rPr lang="sv-SE" sz="2000" i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sv-SE" sz="2000" i="0">
                        <a:latin typeface="Cambria Math" panose="02040503050406030204" pitchFamily="18" charset="0"/>
                      </a:rPr>
                      <m:t>y</m:t>
                    </m:r>
                    <m:sSub>
                      <m:sSubPr>
                        <m:ctrlPr>
                          <a:rPr lang="sv-S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2000" b="1" i="0">
                            <a:latin typeface="Cambria Math" panose="02040503050406030204" pitchFamily="18" charset="0"/>
                          </a:rPr>
                          <m:t>𝐞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sv-SE" sz="2000" i="0">
                            <a:latin typeface="Cambria Math" panose="02040503050406030204" pitchFamily="18" charset="0"/>
                          </a:rPr>
                          <m:t>y</m:t>
                        </m:r>
                      </m:sub>
                    </m:sSub>
                  </m:oMath>
                </a14:m>
                <a:r>
                  <a:rPr lang="sv-SE" sz="2000" dirty="0"/>
                  <a:t>. Mängden sådana vektorer är ett vektorrum!</a:t>
                </a: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723307E-BD8A-D58D-1BC8-7F58EC2660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338" y="3203089"/>
                <a:ext cx="7035501" cy="736099"/>
              </a:xfrm>
              <a:prstGeom prst="rect">
                <a:avLst/>
              </a:prstGeom>
              <a:blipFill>
                <a:blip r:embed="rId3"/>
                <a:stretch>
                  <a:fillRect l="-901" t="-5085" b="-847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3017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D6BBB-7281-FA69-ED4A-53F46DC1A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Hur</a:t>
            </a:r>
            <a:r>
              <a:rPr lang="en-GB" dirty="0"/>
              <a:t> </a:t>
            </a:r>
            <a:r>
              <a:rPr lang="en-GB" dirty="0" err="1"/>
              <a:t>fungerar</a:t>
            </a:r>
            <a:r>
              <a:rPr lang="en-GB" dirty="0"/>
              <a:t> baser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4CA47A-6BA7-A208-0B89-6CB0BE5DDEF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40128" y="1508801"/>
                <a:ext cx="6935788" cy="3519348"/>
              </a:xfrm>
            </p:spPr>
            <p:txBody>
              <a:bodyPr>
                <a:normAutofit/>
              </a:bodyPr>
              <a:lstStyle/>
              <a:p>
                <a:r>
                  <a:rPr lang="sv-SE" dirty="0"/>
                  <a:t>Hur fungerar denna basen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sv-S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sv-SE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sv-SE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𝐚</m:t>
                            </m:r>
                          </m:e>
                          <m:sub>
                            <m:r>
                              <a:rPr lang="sv-SE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sv-SE" dirty="0"/>
                  <a:t> nä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i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,2</m:t>
                        </m:r>
                      </m:e>
                    </m:d>
                    <m:r>
                      <a:rPr lang="sv-SE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sv-S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sv-S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sv-SE" b="0" i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,1</m:t>
                        </m:r>
                      </m:e>
                    </m:d>
                  </m:oMath>
                </a14:m>
                <a:r>
                  <a:rPr lang="sv-SE" dirty="0"/>
                  <a:t>?</a:t>
                </a:r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Om du multiplicera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med en skalär (ett tal)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hamnar man på en linje; vi säger at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”</a:t>
                </a:r>
                <a:r>
                  <a:rPr lang="sv-SE" b="1" dirty="0"/>
                  <a:t>spänner upp en linje</a:t>
                </a:r>
                <a:r>
                  <a:rPr lang="sv-SE" dirty="0"/>
                  <a:t>”!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Om man står på linjen vi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sv-SE" dirty="0"/>
                  <a:t> och lägger til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sSub>
                      <m:sSubPr>
                        <m:ctrlPr>
                          <a:rPr lang="sv-S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br>
                  <a:rPr lang="sv-SE" dirty="0"/>
                </a:br>
                <a:r>
                  <a:rPr lang="sv-SE" dirty="0"/>
                  <a:t>så hamnar man utanför linjen!</a:t>
                </a:r>
              </a:p>
              <a:p>
                <a:pPr marL="457200" indent="-457200">
                  <a:buFont typeface="+mj-lt"/>
                  <a:buAutoNum type="arabicPeriod"/>
                </a:pPr>
                <a:endParaRPr lang="sv-SE" dirty="0"/>
              </a:p>
              <a:p>
                <a:pPr marL="457200" indent="-457200">
                  <a:buFont typeface="+mj-lt"/>
                  <a:buAutoNum type="arabicPeriod"/>
                </a:pPr>
                <a:r>
                  <a:rPr lang="sv-SE" dirty="0"/>
                  <a:t>Alla möjliga kombination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b="1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sv-SE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sSub>
                      <m:sSubPr>
                        <m:ctrlPr>
                          <a:rPr lang="sv-S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sv-S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br>
                  <a:rPr lang="sv-SE" dirty="0"/>
                </a:br>
                <a:r>
                  <a:rPr lang="sv-SE" dirty="0"/>
                  <a:t>”spänner upp en yta”!</a:t>
                </a:r>
                <a:br>
                  <a:rPr lang="sv-SE" dirty="0"/>
                </a:br>
                <a:endParaRPr lang="sv-SE" dirty="0"/>
              </a:p>
              <a:p>
                <a:endParaRPr lang="sv-SE" dirty="0"/>
              </a:p>
              <a:p>
                <a:endParaRPr lang="sv-SE" i="1" dirty="0"/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4CA47A-6BA7-A208-0B89-6CB0BE5DDEF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0128" y="1508801"/>
                <a:ext cx="6935788" cy="3519348"/>
              </a:xfrm>
              <a:blipFill>
                <a:blip r:embed="rId2"/>
                <a:stretch>
                  <a:fillRect l="-2190" t="-2527" r="-73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03E9B8-A63C-AD1A-31B7-32881C8771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D97AFD-D446-C741-AFCD-B72DC09FF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A1EA830-D2D1-9BD8-7E11-750645AD85F3}"/>
              </a:ext>
            </a:extLst>
          </p:cNvPr>
          <p:cNvGrpSpPr/>
          <p:nvPr/>
        </p:nvGrpSpPr>
        <p:grpSpPr>
          <a:xfrm>
            <a:off x="7869768" y="1838874"/>
            <a:ext cx="800100" cy="636814"/>
            <a:chOff x="5812971" y="2792186"/>
            <a:chExt cx="800100" cy="636814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3CCB1AA2-86F1-248D-6213-95A291368DD4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6F9F8CBF-00E8-8A7C-3EA2-C33E2976C42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D3818A1-D639-2E6C-36DC-EDDEFF0DCAE0}"/>
              </a:ext>
            </a:extLst>
          </p:cNvPr>
          <p:cNvCxnSpPr/>
          <p:nvPr/>
        </p:nvCxnSpPr>
        <p:spPr>
          <a:xfrm flipV="1">
            <a:off x="7869768" y="1723272"/>
            <a:ext cx="377051" cy="74153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D8558C-7626-F70B-12E5-65EA9D7EE715}"/>
              </a:ext>
            </a:extLst>
          </p:cNvPr>
          <p:cNvCxnSpPr>
            <a:cxnSpLocks/>
          </p:cNvCxnSpPr>
          <p:nvPr/>
        </p:nvCxnSpPr>
        <p:spPr>
          <a:xfrm flipV="1">
            <a:off x="7648504" y="1301360"/>
            <a:ext cx="808922" cy="160135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99DD44-D80E-0ED8-B0E6-E570D00C4B18}"/>
              </a:ext>
            </a:extLst>
          </p:cNvPr>
          <p:cNvGrpSpPr/>
          <p:nvPr/>
        </p:nvGrpSpPr>
        <p:grpSpPr>
          <a:xfrm>
            <a:off x="6875866" y="3650489"/>
            <a:ext cx="800100" cy="636814"/>
            <a:chOff x="5812971" y="2792186"/>
            <a:chExt cx="800100" cy="636814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8F490221-3191-5A90-7BEB-D4F5F36FC065}"/>
                </a:ext>
              </a:extLst>
            </p:cNvPr>
            <p:cNvCxnSpPr/>
            <p:nvPr/>
          </p:nvCxnSpPr>
          <p:spPr>
            <a:xfrm flipV="1">
              <a:off x="5812971" y="2792186"/>
              <a:ext cx="0" cy="636814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A3F5940D-E3A8-2C33-3A77-4BDD58ACDD7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971" y="3418114"/>
              <a:ext cx="800100" cy="10886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0E3B739-B251-DDB0-0A4E-BD2D455DD8F2}"/>
              </a:ext>
            </a:extLst>
          </p:cNvPr>
          <p:cNvCxnSpPr/>
          <p:nvPr/>
        </p:nvCxnSpPr>
        <p:spPr>
          <a:xfrm flipV="1">
            <a:off x="6875866" y="3534887"/>
            <a:ext cx="377051" cy="741530"/>
          </a:xfrm>
          <a:prstGeom prst="straightConnector1">
            <a:avLst/>
          </a:prstGeom>
          <a:ln w="317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596ADE4-35F8-2452-ACBE-99F6971C4332}"/>
              </a:ext>
            </a:extLst>
          </p:cNvPr>
          <p:cNvCxnSpPr>
            <a:cxnSpLocks/>
          </p:cNvCxnSpPr>
          <p:nvPr/>
        </p:nvCxnSpPr>
        <p:spPr>
          <a:xfrm flipV="1">
            <a:off x="6654602" y="3112975"/>
            <a:ext cx="808922" cy="160135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FB3CA5D-EFB7-7BAE-5AA3-DC3BD5561E32}"/>
              </a:ext>
            </a:extLst>
          </p:cNvPr>
          <p:cNvGrpSpPr/>
          <p:nvPr/>
        </p:nvGrpSpPr>
        <p:grpSpPr>
          <a:xfrm>
            <a:off x="6694955" y="4394887"/>
            <a:ext cx="1703933" cy="646331"/>
            <a:chOff x="6694955" y="4394887"/>
            <a:chExt cx="1703933" cy="646331"/>
          </a:xfrm>
        </p:grpSpPr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F3093F9B-F508-469D-4630-2AA402A396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94955" y="4435406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AD5B9D3E-5102-D42F-4F24-BCC188070FDC}"/>
                    </a:ext>
                  </a:extLst>
                </p:cNvPr>
                <p:cNvSpPr txBox="1"/>
                <p:nvPr/>
              </p:nvSpPr>
              <p:spPr>
                <a:xfrm>
                  <a:off x="7153932" y="4394887"/>
                  <a:ext cx="1244956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−0.5</m:t>
                        </m:r>
                      </m:oMath>
                    </m:oMathPara>
                  </a14:m>
                  <a:endParaRPr lang="sv-SE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sv-SE" b="0" i="0" smtClean="0">
                            <a:latin typeface="Cambria Math" panose="02040503050406030204" pitchFamily="18" charset="0"/>
                          </a:rPr>
                          <m:t>=1      </m:t>
                        </m:r>
                      </m:oMath>
                    </m:oMathPara>
                  </a14:m>
                  <a:endParaRPr lang="en-GB" dirty="0"/>
                </a:p>
              </p:txBody>
            </p:sp>
          </mc:Choice>
          <mc:Fallback xmlns=""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AD5B9D3E-5102-D42F-4F24-BCC188070FD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53932" y="4394887"/>
                  <a:ext cx="1244956" cy="646331"/>
                </a:xfrm>
                <a:prstGeom prst="rect">
                  <a:avLst/>
                </a:prstGeom>
                <a:blipFill>
                  <a:blip r:embed="rId3"/>
                  <a:stretch>
                    <a:fillRect b="-9804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10DAB4E-CEB7-0042-70F8-2EB88E5AC206}"/>
              </a:ext>
            </a:extLst>
          </p:cNvPr>
          <p:cNvGrpSpPr/>
          <p:nvPr/>
        </p:nvGrpSpPr>
        <p:grpSpPr>
          <a:xfrm>
            <a:off x="7252917" y="3119960"/>
            <a:ext cx="1875373" cy="719790"/>
            <a:chOff x="7252917" y="3119960"/>
            <a:chExt cx="1875373" cy="719790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8B132BD7-2329-6C01-9D10-F258358D18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52917" y="3338292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114911C2-B997-0A84-0B0A-B8F46C6FCC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1839" y="3119960"/>
              <a:ext cx="797009" cy="221456"/>
            </a:xfrm>
            <a:prstGeom prst="straightConnector1">
              <a:avLst/>
            </a:prstGeom>
            <a:ln w="317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4D5FD1E1-C505-1B25-6F85-1FDEF5026B09}"/>
                    </a:ext>
                  </a:extLst>
                </p:cNvPr>
                <p:cNvSpPr txBox="1"/>
                <p:nvPr/>
              </p:nvSpPr>
              <p:spPr>
                <a:xfrm>
                  <a:off x="8234392" y="3193419"/>
                  <a:ext cx="893898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oMath>
                    </m:oMathPara>
                  </a14:m>
                  <a:endParaRPr lang="sv-SE" i="1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sv-SE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sv-SE" b="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=2</m:t>
                        </m:r>
                      </m:oMath>
                    </m:oMathPara>
                  </a14:m>
                  <a:endParaRPr lang="en-GB" i="1" dirty="0"/>
                </a:p>
              </p:txBody>
            </p:sp>
          </mc:Choice>
          <mc:Fallback xmlns=""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4D5FD1E1-C505-1B25-6F85-1FDEF5026B0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34392" y="3193419"/>
                  <a:ext cx="893898" cy="646331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FBB1FE6-71E3-56A4-8E4D-39B7009E97D2}"/>
              </a:ext>
            </a:extLst>
          </p:cNvPr>
          <p:cNvGrpSpPr/>
          <p:nvPr/>
        </p:nvGrpSpPr>
        <p:grpSpPr>
          <a:xfrm>
            <a:off x="4326747" y="4503630"/>
            <a:ext cx="1556704" cy="1392123"/>
            <a:chOff x="4326747" y="4503630"/>
            <a:chExt cx="1556704" cy="1392123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8A243CA-2409-08E9-E395-8E7F92634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64608" y="4503630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A142049-5EA9-28D7-1D00-A6113A7826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26766" y="4537093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DAEE2D4F-6486-88E6-C855-BCBA184448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25819" y="4570556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11C2AA7-68AF-A53F-1A96-E948EB025CD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4837" y="4519713"/>
              <a:ext cx="618824" cy="13251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D6B47D0-CC2D-839C-13E1-669342246A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88905" y="4753176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AE54229F-2A31-2953-C8E0-50AEB232D6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47467" y="5078236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0DC92DE-A451-783F-7B4F-31D6E7321D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38774" y="4551707"/>
              <a:ext cx="947450" cy="274494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7A6D24-48C7-6EB2-B236-CA26AFCD9F0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26747" y="5406565"/>
              <a:ext cx="1294546" cy="38555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D8643E9-F089-D1A2-3A0D-5E2089A1373B}"/>
                </a:ext>
              </a:extLst>
            </p:cNvPr>
            <p:cNvGrpSpPr/>
            <p:nvPr/>
          </p:nvGrpSpPr>
          <p:grpSpPr>
            <a:xfrm>
              <a:off x="4886124" y="4709742"/>
              <a:ext cx="800100" cy="636814"/>
              <a:chOff x="5812971" y="2792186"/>
              <a:chExt cx="800100" cy="636814"/>
            </a:xfrm>
          </p:grpSpPr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785163B2-5248-602D-5603-5B708C783951}"/>
                  </a:ext>
                </a:extLst>
              </p:cNvPr>
              <p:cNvCxnSpPr/>
              <p:nvPr/>
            </p:nvCxnSpPr>
            <p:spPr>
              <a:xfrm flipV="1">
                <a:off x="5812971" y="2792186"/>
                <a:ext cx="0" cy="63681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E74E1784-D5AF-2FFB-4EE1-405CD6D726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12971" y="3418114"/>
                <a:ext cx="800100" cy="10886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C427FD6-D71C-F1F0-4F39-34B5382C0AEC}"/>
              </a:ext>
            </a:extLst>
          </p:cNvPr>
          <p:cNvGrpSpPr/>
          <p:nvPr/>
        </p:nvGrpSpPr>
        <p:grpSpPr>
          <a:xfrm>
            <a:off x="5742013" y="4815851"/>
            <a:ext cx="2014622" cy="1120046"/>
            <a:chOff x="5742013" y="4815851"/>
            <a:chExt cx="2014622" cy="112004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3481D099-0F50-E2C9-CF55-BA5D02F36ED7}"/>
                    </a:ext>
                  </a:extLst>
                </p:cNvPr>
                <p:cNvSpPr txBox="1"/>
                <p:nvPr/>
              </p:nvSpPr>
              <p:spPr>
                <a:xfrm>
                  <a:off x="6493790" y="5566565"/>
                  <a:ext cx="1262845" cy="369332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shade val="95000"/>
                      <a:satMod val="105000"/>
                    </a:schemeClr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sSub>
                          <m:sSubPr>
                            <m:ctrlPr>
                              <a:rPr lang="sv-SE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sv-SE" b="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a</m:t>
                            </m:r>
                          </m:e>
                          <m:sub>
                            <m:r>
                              <a:rPr lang="sv-SE" b="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sv-SE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</m:t>
                        </m:r>
                        <m:sSub>
                          <m:sSubPr>
                            <m:ctrlPr>
                              <a:rPr lang="sv-SE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sv-SE" b="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a</m:t>
                            </m:r>
                          </m:e>
                          <m:sub>
                            <m:r>
                              <a:rPr lang="sv-SE" b="0" i="1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GB" dirty="0"/>
                </a:p>
              </p:txBody>
            </p:sp>
          </mc:Choice>
          <mc:Fallback xmlns=""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3481D099-0F50-E2C9-CF55-BA5D02F36E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93790" y="5566565"/>
                  <a:ext cx="1262845" cy="369332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>
                  <a:solidFill>
                    <a:schemeClr val="accent1">
                      <a:shade val="95000"/>
                      <a:satMod val="105000"/>
                    </a:schemeClr>
                  </a:solidFill>
                </a:ln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256D05D4-53C3-B866-96DD-E0E8E6609412}"/>
                </a:ext>
              </a:extLst>
            </p:cNvPr>
            <p:cNvCxnSpPr/>
            <p:nvPr/>
          </p:nvCxnSpPr>
          <p:spPr>
            <a:xfrm flipH="1" flipV="1">
              <a:off x="5742013" y="4815851"/>
              <a:ext cx="751777" cy="76743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06028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AEC93-9A88-7663-1607-A6EAA7A21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olumnru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A3DA62-C7D9-6C90-D677-51C5051520E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94872" y="1228074"/>
                <a:ext cx="8889168" cy="4663060"/>
              </a:xfrm>
            </p:spPr>
            <p:txBody>
              <a:bodyPr>
                <a:noAutofit/>
              </a:bodyPr>
              <a:lstStyle/>
              <a:p>
                <a:pPr>
                  <a:lnSpc>
                    <a:spcPct val="110000"/>
                  </a:lnSpc>
                </a:pP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1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𝐚</m:t>
                              </m:r>
                            </m:e>
                            <m:e>
                              <m: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𝐛</m:t>
                              </m:r>
                            </m:e>
                            <m:e>
                              <m:r>
                                <a:rPr lang="sv-SE" sz="1800" b="1" i="0" smtClean="0">
                                  <a:latin typeface="Cambria Math" panose="02040503050406030204" pitchFamily="18" charset="0"/>
                                </a:rPr>
                                <m:t>𝐜</m:t>
                              </m:r>
                            </m:e>
                          </m:mr>
                        </m:m>
                      </m:e>
                    </m:d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𝐚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sv-SE" sz="1800" b="1">
                        <a:latin typeface="Cambria Math" panose="02040503050406030204" pitchFamily="18" charset="0"/>
                      </a:rPr>
                      <m:t>𝐛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𝐜</m:t>
                    </m:r>
                  </m:oMath>
                </a14:m>
                <a:r>
                  <a:rPr lang="sv-SE" sz="1800" dirty="0"/>
                  <a:t>, en linjär combination av kolumnerna i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.</a:t>
                </a:r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Alla möjliga linjärkombination bildar ett underrum – </a:t>
                </a:r>
                <a:r>
                  <a:rPr lang="sv-SE" sz="1800" b="1" i="1" dirty="0"/>
                  <a:t>kolumnrummet</a:t>
                </a:r>
                <a:r>
                  <a:rPr lang="sv-SE" sz="1800" dirty="0"/>
                  <a:t>!</a:t>
                </a:r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Om </a:t>
                </a:r>
                <a14:m>
                  <m:oMath xmlns:m="http://schemas.openxmlformats.org/officeDocument/2006/math"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𝐱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sv-SE" sz="1800" dirty="0"/>
                  <a:t> så är </a:t>
                </a:r>
                <a14:m>
                  <m:oMath xmlns:m="http://schemas.openxmlformats.org/officeDocument/2006/math">
                    <m:r>
                      <a:rPr lang="sv-SE" sz="1800" i="1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sv-SE" sz="1800" dirty="0"/>
                  <a:t> i kolumnrummet!</a:t>
                </a:r>
              </a:p>
              <a:p>
                <a:pPr>
                  <a:lnSpc>
                    <a:spcPct val="110000"/>
                  </a:lnSpc>
                </a:pPr>
                <a:endParaRPr lang="sv-SE" sz="1800" dirty="0"/>
              </a:p>
              <a:p>
                <a:pPr>
                  <a:lnSpc>
                    <a:spcPct val="110000"/>
                  </a:lnSpc>
                </a:pPr>
                <a:r>
                  <a:rPr lang="sv-SE" sz="1800" dirty="0"/>
                  <a:t>Hur hittar jag kolumnrummet till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 i praktiken? Är det hela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sv-S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sv-SE" sz="1800" dirty="0"/>
                  <a:t>, en linje, eller en yta?</a:t>
                </a:r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Radreducera, t.ex.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</m:m>
                      </m:e>
                    </m:d>
                    <m:r>
                      <a:rPr lang="sv-SE" sz="1800" i="1">
                        <a:latin typeface="Cambria Math" panose="02040503050406030204" pitchFamily="18" charset="0"/>
                      </a:rPr>
                      <m:t>~</m:t>
                    </m:r>
                    <m:d>
                      <m:dPr>
                        <m:begChr m:val="["/>
                        <m:endChr m:val="]"/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3"/>
                                  <m:mcJc m:val="center"/>
                                </m:mcPr>
                              </m:mc>
                            </m:mcs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mr>
                        </m:m>
                      </m:e>
                    </m:d>
                  </m:oMath>
                </a14:m>
                <a:endParaRPr lang="sv-SE" sz="1800" dirty="0"/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Finn pivot kolumnerna, ovan är det kolumn 1 och 3.</a:t>
                </a:r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Kolumnrummet är en linjär kombination av pivot-kolumnerna i </a:t>
                </a:r>
                <a14:m>
                  <m:oMath xmlns:m="http://schemas.openxmlformats.org/officeDocument/2006/math">
                    <m:r>
                      <a:rPr lang="sv-SE" sz="18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, dvs</a:t>
                </a:r>
                <a:br>
                  <a:rPr lang="sv-SE" sz="1800" dirty="0"/>
                </a:br>
                <a:r>
                  <a:rPr lang="sv-SE" sz="1800" dirty="0"/>
                  <a:t>alla </a:t>
                </a:r>
                <a14:m>
                  <m:oMath xmlns:m="http://schemas.openxmlformats.org/officeDocument/2006/math">
                    <m:r>
                      <a:rPr lang="sv-SE" sz="1800" b="1" i="0" smtClean="0">
                        <a:latin typeface="Cambria Math" panose="02040503050406030204" pitchFamily="18" charset="0"/>
                      </a:rPr>
                      <m:t>𝐰</m:t>
                    </m:r>
                    <m:r>
                      <a:rPr lang="sv-SE" sz="180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sv-SE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sv-SE" sz="1800" b="0" i="1" smtClean="0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</m:m>
                      </m:e>
                    </m:d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sv-SE" sz="1800" i="1">
                        <a:latin typeface="Cambria Math" panose="02040503050406030204" pitchFamily="18" charset="0"/>
                      </a:rPr>
                      <m:t>+</m:t>
                    </m:r>
                    <m:d>
                      <m:dPr>
                        <m:begChr m:val="["/>
                        <m:endChr m:val="]"/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sv-SE" sz="1800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e>
                          </m:mr>
                          <m:mr>
                            <m:e>
                              <m:r>
                                <a:rPr lang="sv-SE" sz="1800" b="0" i="1" smtClean="0">
                                  <a:latin typeface="Cambria Math" panose="02040503050406030204" pitchFamily="18" charset="0"/>
                                </a:rPr>
                                <m:t>9</m:t>
                              </m:r>
                            </m:e>
                          </m:mr>
                        </m:m>
                      </m:e>
                    </m:d>
                    <m:sSub>
                      <m:sSubPr>
                        <m:ctrlPr>
                          <a:rPr lang="sv-S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sv-SE" sz="1800" i="1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sv-SE" sz="1800" dirty="0"/>
                  <a:t> tillhör kolumnrummet för </a:t>
                </a:r>
                <a14:m>
                  <m:oMath xmlns:m="http://schemas.openxmlformats.org/officeDocument/2006/math">
                    <m:r>
                      <a:rPr lang="sv-SE" sz="1800" i="1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sv-SE" sz="1800" dirty="0"/>
                  <a:t>. </a:t>
                </a:r>
              </a:p>
              <a:p>
                <a:pPr marL="457200" indent="-4572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sv-SE" sz="1800" dirty="0"/>
                  <a:t>Två fria parametrar (två basvektorer) innebär att kolumnrummet är en yta!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A3DA62-C7D9-6C90-D677-51C5051520E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94872" y="1228074"/>
                <a:ext cx="8889168" cy="4663060"/>
              </a:xfrm>
              <a:blipFill>
                <a:blip r:embed="rId2"/>
                <a:stretch>
                  <a:fillRect l="-1569" t="-163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E3BA6-5F98-8BA6-12B2-7BDE4A34D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B19D8-287E-3046-8A40-FFDD1D553A1D}" type="datetime4">
              <a:rPr lang="sv-SE" smtClean="0"/>
              <a:t>18 april 2023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1E8FD6-8929-52EF-7B94-9727D0D9C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9666023-3F94-F832-EEAC-3A027C702AA8}"/>
              </a:ext>
            </a:extLst>
          </p:cNvPr>
          <p:cNvSpPr/>
          <p:nvPr/>
        </p:nvSpPr>
        <p:spPr>
          <a:xfrm>
            <a:off x="5032417" y="3427710"/>
            <a:ext cx="232902" cy="234928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6916493-FC9F-6B20-35F7-94053339B33B}"/>
              </a:ext>
            </a:extLst>
          </p:cNvPr>
          <p:cNvSpPr/>
          <p:nvPr/>
        </p:nvSpPr>
        <p:spPr>
          <a:xfrm>
            <a:off x="4339098" y="3137737"/>
            <a:ext cx="232902" cy="234928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552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2210-Lec1-ElectronMagneticField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TH-Template" id="{72D003DF-CC15-9342-A1FC-9DACEA365255}" vid="{0AB7066F-DFAE-4248-A9C0-DEBE571647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D2210-Lec1-ElectronMagneticFields</Template>
  <TotalTime>540</TotalTime>
  <Words>776</Words>
  <Application>Microsoft Macintosh PowerPoint</Application>
  <PresentationFormat>On-screen Show (4:3)</PresentationFormat>
  <Paragraphs>11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mbria Math</vt:lpstr>
      <vt:lpstr>ED2210-Lec1-ElectronMagneticFields</vt:lpstr>
      <vt:lpstr>think-cell Slide</vt:lpstr>
      <vt:lpstr>Övning 5</vt:lpstr>
      <vt:lpstr>LU Factorisering</vt:lpstr>
      <vt:lpstr>Leontief modellen</vt:lpstr>
      <vt:lpstr>Datorgrafik</vt:lpstr>
      <vt:lpstr>Datorgrafik: Flytta punkter</vt:lpstr>
      <vt:lpstr>Underrum</vt:lpstr>
      <vt:lpstr>Bas – hur man representerar ett rum!</vt:lpstr>
      <vt:lpstr>Hur fungerar baser?</vt:lpstr>
      <vt:lpstr>Kolumnrum</vt:lpstr>
      <vt:lpstr>Nollru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vning 6</dc:title>
  <dc:creator>Thomas Jonsson</dc:creator>
  <cp:lastModifiedBy>Thomas Jonsson</cp:lastModifiedBy>
  <cp:revision>2</cp:revision>
  <cp:lastPrinted>2015-01-20T11:47:21Z</cp:lastPrinted>
  <dcterms:created xsi:type="dcterms:W3CDTF">2023-04-15T09:14:12Z</dcterms:created>
  <dcterms:modified xsi:type="dcterms:W3CDTF">2023-04-18T08:20:18Z</dcterms:modified>
</cp:coreProperties>
</file>